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0" r:id="rId2"/>
  </p:sldMasterIdLst>
  <p:notesMasterIdLst>
    <p:notesMasterId r:id="rId32"/>
  </p:notesMasterIdLst>
  <p:sldIdLst>
    <p:sldId id="256" r:id="rId3"/>
    <p:sldId id="258" r:id="rId4"/>
    <p:sldId id="1724" r:id="rId5"/>
    <p:sldId id="1725" r:id="rId6"/>
    <p:sldId id="1726" r:id="rId7"/>
    <p:sldId id="1727" r:id="rId8"/>
    <p:sldId id="1729" r:id="rId9"/>
    <p:sldId id="1731" r:id="rId10"/>
    <p:sldId id="1732" r:id="rId11"/>
    <p:sldId id="1733" r:id="rId12"/>
    <p:sldId id="1734" r:id="rId13"/>
    <p:sldId id="1735" r:id="rId14"/>
    <p:sldId id="1736" r:id="rId15"/>
    <p:sldId id="1737" r:id="rId16"/>
    <p:sldId id="1738" r:id="rId17"/>
    <p:sldId id="1739" r:id="rId18"/>
    <p:sldId id="1740" r:id="rId19"/>
    <p:sldId id="1743" r:id="rId20"/>
    <p:sldId id="1730" r:id="rId21"/>
    <p:sldId id="1741" r:id="rId22"/>
    <p:sldId id="1742" r:id="rId23"/>
    <p:sldId id="1744" r:id="rId24"/>
    <p:sldId id="1745" r:id="rId25"/>
    <p:sldId id="1746" r:id="rId26"/>
    <p:sldId id="1747" r:id="rId27"/>
    <p:sldId id="1748" r:id="rId28"/>
    <p:sldId id="1749" r:id="rId29"/>
    <p:sldId id="1728" r:id="rId30"/>
    <p:sldId id="1723" r:id="rId31"/>
  </p:sldIdLst>
  <p:sldSz cx="12192000" cy="6858000"/>
  <p:notesSz cx="6858000" cy="9144000"/>
  <p:custDataLst>
    <p:tags r:id="rId3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BDE9"/>
    <a:srgbClr val="FF83A9"/>
    <a:srgbClr val="39BAE8"/>
    <a:srgbClr val="FFBFBE"/>
    <a:srgbClr val="92D9F2"/>
    <a:srgbClr val="E6E6E6"/>
    <a:srgbClr val="FCBA40"/>
    <a:srgbClr val="FFDA93"/>
    <a:srgbClr val="FFC0BE"/>
    <a:srgbClr val="76BF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579" autoAdjust="0"/>
    <p:restoredTop sz="96201" autoAdjust="0"/>
  </p:normalViewPr>
  <p:slideViewPr>
    <p:cSldViewPr snapToGrid="0">
      <p:cViewPr varScale="1">
        <p:scale>
          <a:sx n="116" d="100"/>
          <a:sy n="116" d="100"/>
        </p:scale>
        <p:origin x="78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9/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，让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设计简单起来！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,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Mak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owerPoint Design Simple!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74310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，让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设计简单起来！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,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Mak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owerPoint Design Simple!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35101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0.jpeg"/><Relationship Id="rId2" Type="http://schemas.openxmlformats.org/officeDocument/2006/relationships/hyperlink" Target="http://www.officeplus.cn/Template/Home.shtml" TargetMode="External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fficeplus.cn/Template/Home.shtml" TargetMode="External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>
            <a:extLst>
              <a:ext uri="{FF2B5EF4-FFF2-40B4-BE49-F238E27FC236}">
                <a16:creationId xmlns:a16="http://schemas.microsoft.com/office/drawing/2014/main" id="{CDB8ECEF-8AA4-42EA-91B9-24EB350F76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椭圆 41">
            <a:extLst>
              <a:ext uri="{FF2B5EF4-FFF2-40B4-BE49-F238E27FC236}">
                <a16:creationId xmlns:a16="http://schemas.microsoft.com/office/drawing/2014/main" id="{0829CC21-9B03-4F54-980B-24C46ED79196}"/>
              </a:ext>
            </a:extLst>
          </p:cNvPr>
          <p:cNvSpPr/>
          <p:nvPr userDrawn="1"/>
        </p:nvSpPr>
        <p:spPr>
          <a:xfrm>
            <a:off x="7698671" y="715249"/>
            <a:ext cx="3530051" cy="3530051"/>
          </a:xfrm>
          <a:prstGeom prst="ellipse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A2CE12F6-4DF2-40E8-A332-41A64596D872}"/>
              </a:ext>
            </a:extLst>
          </p:cNvPr>
          <p:cNvSpPr>
            <a:spLocks/>
          </p:cNvSpPr>
          <p:nvPr userDrawn="1"/>
        </p:nvSpPr>
        <p:spPr bwMode="auto">
          <a:xfrm>
            <a:off x="0" y="1699690"/>
            <a:ext cx="12192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40" name="Freeform 9">
            <a:extLst>
              <a:ext uri="{FF2B5EF4-FFF2-40B4-BE49-F238E27FC236}">
                <a16:creationId xmlns:a16="http://schemas.microsoft.com/office/drawing/2014/main" id="{B1EAA4D7-2566-4003-9FF5-B0DDAFBA6DB3}"/>
              </a:ext>
            </a:extLst>
          </p:cNvPr>
          <p:cNvSpPr>
            <a:spLocks/>
          </p:cNvSpPr>
          <p:nvPr userDrawn="1"/>
        </p:nvSpPr>
        <p:spPr bwMode="auto">
          <a:xfrm>
            <a:off x="5358307" y="2039469"/>
            <a:ext cx="6070237" cy="3380331"/>
          </a:xfrm>
          <a:custGeom>
            <a:avLst/>
            <a:gdLst>
              <a:gd name="T0" fmla="*/ 0 w 4357"/>
              <a:gd name="T1" fmla="*/ 592 h 2429"/>
              <a:gd name="T2" fmla="*/ 3232 w 4357"/>
              <a:gd name="T3" fmla="*/ 592 h 2429"/>
              <a:gd name="T4" fmla="*/ 2777 w 4357"/>
              <a:gd name="T5" fmla="*/ 1195 h 2429"/>
              <a:gd name="T6" fmla="*/ 2621 w 4357"/>
              <a:gd name="T7" fmla="*/ 1265 h 2429"/>
              <a:gd name="T8" fmla="*/ 2848 w 4357"/>
              <a:gd name="T9" fmla="*/ 1644 h 2429"/>
              <a:gd name="T10" fmla="*/ 3040 w 4357"/>
              <a:gd name="T11" fmla="*/ 2304 h 2429"/>
              <a:gd name="T12" fmla="*/ 0 w 4357"/>
              <a:gd name="T13" fmla="*/ 2208 h 2429"/>
              <a:gd name="T14" fmla="*/ 0 w 4357"/>
              <a:gd name="T15" fmla="*/ 592 h 2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57" h="2429">
                <a:moveTo>
                  <a:pt x="0" y="592"/>
                </a:moveTo>
                <a:cubicBezTo>
                  <a:pt x="0" y="592"/>
                  <a:pt x="1964" y="0"/>
                  <a:pt x="3232" y="592"/>
                </a:cubicBezTo>
                <a:cubicBezTo>
                  <a:pt x="4357" y="1117"/>
                  <a:pt x="3079" y="1186"/>
                  <a:pt x="2777" y="1195"/>
                </a:cubicBezTo>
                <a:cubicBezTo>
                  <a:pt x="2718" y="1196"/>
                  <a:pt x="2661" y="1221"/>
                  <a:pt x="2621" y="1265"/>
                </a:cubicBezTo>
                <a:cubicBezTo>
                  <a:pt x="2553" y="1339"/>
                  <a:pt x="2523" y="1471"/>
                  <a:pt x="2848" y="1644"/>
                </a:cubicBezTo>
                <a:cubicBezTo>
                  <a:pt x="3368" y="1920"/>
                  <a:pt x="3396" y="2196"/>
                  <a:pt x="3040" y="2304"/>
                </a:cubicBezTo>
                <a:cubicBezTo>
                  <a:pt x="2629" y="2429"/>
                  <a:pt x="0" y="2208"/>
                  <a:pt x="0" y="2208"/>
                </a:cubicBezTo>
                <a:lnTo>
                  <a:pt x="0" y="592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23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5" name="Freeform 5">
            <a:extLst>
              <a:ext uri="{FF2B5EF4-FFF2-40B4-BE49-F238E27FC236}">
                <a16:creationId xmlns:a16="http://schemas.microsoft.com/office/drawing/2014/main" id="{C2E8BCB0-2695-45F4-B544-11AF81033D85}"/>
              </a:ext>
            </a:extLst>
          </p:cNvPr>
          <p:cNvSpPr>
            <a:spLocks/>
          </p:cNvSpPr>
          <p:nvPr userDrawn="1"/>
        </p:nvSpPr>
        <p:spPr bwMode="auto">
          <a:xfrm>
            <a:off x="2743200" y="3636650"/>
            <a:ext cx="94488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EA8F6A47-44E1-46BB-BA10-339B5084D5D0}"/>
              </a:ext>
            </a:extLst>
          </p:cNvPr>
          <p:cNvSpPr/>
          <p:nvPr userDrawn="1"/>
        </p:nvSpPr>
        <p:spPr>
          <a:xfrm>
            <a:off x="0" y="1"/>
            <a:ext cx="4362450" cy="3919337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椭圆 55">
            <a:extLst>
              <a:ext uri="{FF2B5EF4-FFF2-40B4-BE49-F238E27FC236}">
                <a16:creationId xmlns:a16="http://schemas.microsoft.com/office/drawing/2014/main" id="{DE040619-F39F-44AE-A60B-08D1066BFEF5}"/>
              </a:ext>
            </a:extLst>
          </p:cNvPr>
          <p:cNvSpPr/>
          <p:nvPr userDrawn="1"/>
        </p:nvSpPr>
        <p:spPr>
          <a:xfrm>
            <a:off x="934647" y="3122083"/>
            <a:ext cx="2611078" cy="2611078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Freeform 13">
            <a:extLst>
              <a:ext uri="{FF2B5EF4-FFF2-40B4-BE49-F238E27FC236}">
                <a16:creationId xmlns:a16="http://schemas.microsoft.com/office/drawing/2014/main" id="{4C782D13-E61E-4D14-9A33-F44EA27CA709}"/>
              </a:ext>
            </a:extLst>
          </p:cNvPr>
          <p:cNvSpPr>
            <a:spLocks/>
          </p:cNvSpPr>
          <p:nvPr userDrawn="1"/>
        </p:nvSpPr>
        <p:spPr bwMode="auto">
          <a:xfrm>
            <a:off x="1453964" y="1088581"/>
            <a:ext cx="3427706" cy="2895623"/>
          </a:xfrm>
          <a:custGeom>
            <a:avLst/>
            <a:gdLst>
              <a:gd name="T0" fmla="*/ 1149 w 1149"/>
              <a:gd name="T1" fmla="*/ 86 h 971"/>
              <a:gd name="T2" fmla="*/ 427 w 1149"/>
              <a:gd name="T3" fmla="*/ 86 h 971"/>
              <a:gd name="T4" fmla="*/ 539 w 1149"/>
              <a:gd name="T5" fmla="*/ 300 h 971"/>
              <a:gd name="T6" fmla="*/ 254 w 1149"/>
              <a:gd name="T7" fmla="*/ 554 h 971"/>
              <a:gd name="T8" fmla="*/ 336 w 1149"/>
              <a:gd name="T9" fmla="*/ 895 h 971"/>
              <a:gd name="T10" fmla="*/ 1149 w 1149"/>
              <a:gd name="T11" fmla="*/ 895 h 971"/>
              <a:gd name="T12" fmla="*/ 1149 w 1149"/>
              <a:gd name="T13" fmla="*/ 86 h 9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9" h="971">
                <a:moveTo>
                  <a:pt x="1149" y="86"/>
                </a:moveTo>
                <a:cubicBezTo>
                  <a:pt x="1149" y="86"/>
                  <a:pt x="508" y="0"/>
                  <a:pt x="427" y="86"/>
                </a:cubicBezTo>
                <a:cubicBezTo>
                  <a:pt x="343" y="175"/>
                  <a:pt x="444" y="199"/>
                  <a:pt x="539" y="300"/>
                </a:cubicBezTo>
                <a:cubicBezTo>
                  <a:pt x="615" y="381"/>
                  <a:pt x="508" y="473"/>
                  <a:pt x="254" y="554"/>
                </a:cubicBezTo>
                <a:cubicBezTo>
                  <a:pt x="0" y="635"/>
                  <a:pt x="20" y="818"/>
                  <a:pt x="336" y="895"/>
                </a:cubicBezTo>
                <a:cubicBezTo>
                  <a:pt x="651" y="971"/>
                  <a:pt x="1149" y="895"/>
                  <a:pt x="1149" y="895"/>
                </a:cubicBezTo>
                <a:lnTo>
                  <a:pt x="1149" y="86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EF8D7616-45BD-4C83-8015-231C18266E6D}"/>
              </a:ext>
            </a:extLst>
          </p:cNvPr>
          <p:cNvSpPr/>
          <p:nvPr userDrawn="1"/>
        </p:nvSpPr>
        <p:spPr>
          <a:xfrm flipV="1">
            <a:off x="0" y="4353146"/>
            <a:ext cx="7610576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C6FA2216-82B7-4F61-8629-CA98E8FA06E1}"/>
              </a:ext>
            </a:extLst>
          </p:cNvPr>
          <p:cNvSpPr/>
          <p:nvPr userDrawn="1"/>
        </p:nvSpPr>
        <p:spPr>
          <a:xfrm>
            <a:off x="3268795" y="992944"/>
            <a:ext cx="5654410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3262420" y="3120767"/>
            <a:ext cx="5654410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3262419" y="1862835"/>
            <a:ext cx="5654410" cy="1257932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262420" y="4530104"/>
            <a:ext cx="565441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62419" y="4847274"/>
            <a:ext cx="565441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微软黑科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3E71CC84-193F-4D28-98D9-17F9952F968C}"/>
              </a:ext>
            </a:extLst>
          </p:cNvPr>
          <p:cNvCxnSpPr/>
          <p:nvPr userDrawn="1"/>
        </p:nvCxnSpPr>
        <p:spPr>
          <a:xfrm>
            <a:off x="0" y="657288"/>
            <a:ext cx="12192000" cy="0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>
            <a:extLst>
              <a:ext uri="{FF2B5EF4-FFF2-40B4-BE49-F238E27FC236}">
                <a16:creationId xmlns:a16="http://schemas.microsoft.com/office/drawing/2014/main" id="{23A9F197-1133-4CEE-860F-85366976D0AC}"/>
              </a:ext>
            </a:extLst>
          </p:cNvPr>
          <p:cNvSpPr/>
          <p:nvPr userDrawn="1"/>
        </p:nvSpPr>
        <p:spPr>
          <a:xfrm>
            <a:off x="0" y="3091547"/>
            <a:ext cx="12192000" cy="3766453"/>
          </a:xfrm>
          <a:prstGeom prst="rect">
            <a:avLst/>
          </a:prstGeom>
          <a:solidFill>
            <a:srgbClr val="E73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AA954438-2CEB-4119-883B-8B9196F98504}"/>
              </a:ext>
            </a:extLst>
          </p:cNvPr>
          <p:cNvSpPr/>
          <p:nvPr userDrawn="1"/>
        </p:nvSpPr>
        <p:spPr>
          <a:xfrm>
            <a:off x="621395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4CD1A364-B227-4CFB-9287-6198C6C0443B}"/>
              </a:ext>
            </a:extLst>
          </p:cNvPr>
          <p:cNvSpPr/>
          <p:nvPr userDrawn="1"/>
        </p:nvSpPr>
        <p:spPr>
          <a:xfrm>
            <a:off x="4374467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BEA6AD26-5781-4DAD-8C16-8C73B2C177AD}"/>
              </a:ext>
            </a:extLst>
          </p:cNvPr>
          <p:cNvSpPr txBox="1"/>
          <p:nvPr userDrawn="1"/>
        </p:nvSpPr>
        <p:spPr>
          <a:xfrm>
            <a:off x="1656327" y="286129"/>
            <a:ext cx="8879354" cy="6701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  <a:spcBef>
                <a:spcPts val="600"/>
              </a:spcBef>
            </a:pPr>
            <a:r>
              <a:rPr lang="zh-CN" altLang="en-US" sz="3200" b="1" kern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微信扫描小程序码，使用微软移动办公黑科技 </a:t>
            </a:r>
            <a:endParaRPr lang="en-US" sz="3200" b="1" kern="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72806FD0-33B9-40F1-B8F9-079524CA002C}"/>
              </a:ext>
            </a:extLst>
          </p:cNvPr>
          <p:cNvCxnSpPr>
            <a:cxnSpLocks/>
          </p:cNvCxnSpPr>
          <p:nvPr userDrawn="1"/>
        </p:nvCxnSpPr>
        <p:spPr>
          <a:xfrm flipH="1">
            <a:off x="1523089" y="369629"/>
            <a:ext cx="266460" cy="622048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159FFD7E-3944-43A3-A5DD-D8673483D044}"/>
              </a:ext>
            </a:extLst>
          </p:cNvPr>
          <p:cNvCxnSpPr>
            <a:cxnSpLocks/>
          </p:cNvCxnSpPr>
          <p:nvPr userDrawn="1"/>
        </p:nvCxnSpPr>
        <p:spPr>
          <a:xfrm flipH="1">
            <a:off x="10402443" y="369629"/>
            <a:ext cx="266460" cy="622048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C76706F4-B20C-489C-ACB9-010EF43FEF70}"/>
              </a:ext>
            </a:extLst>
          </p:cNvPr>
          <p:cNvSpPr/>
          <p:nvPr userDrawn="1"/>
        </p:nvSpPr>
        <p:spPr>
          <a:xfrm>
            <a:off x="8159751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9A11A6D6-1DBD-4A10-8942-D3DDC4E182E9}"/>
              </a:ext>
            </a:extLst>
          </p:cNvPr>
          <p:cNvSpPr txBox="1"/>
          <p:nvPr userDrawn="1"/>
        </p:nvSpPr>
        <p:spPr>
          <a:xfrm>
            <a:off x="987447" y="5138740"/>
            <a:ext cx="2730235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在微信访问</a:t>
            </a:r>
            <a:r>
              <a:rPr lang="en-US" altLang="zh-CN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neDrive</a:t>
            </a: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</a:t>
            </a:r>
            <a:r>
              <a:rPr lang="en-US" altLang="zh-CN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ffice</a:t>
            </a: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文档 」</a:t>
            </a:r>
            <a:endParaRPr lang="en-US" sz="2000" b="1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6274E825-3465-469E-BD06-097F250CA889}"/>
              </a:ext>
            </a:extLst>
          </p:cNvPr>
          <p:cNvSpPr txBox="1"/>
          <p:nvPr userDrawn="1"/>
        </p:nvSpPr>
        <p:spPr>
          <a:xfrm>
            <a:off x="4862328" y="5138740"/>
            <a:ext cx="2467342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让你的文档会说话</a:t>
            </a:r>
            <a:endParaRPr lang="en-US" altLang="zh-CN" sz="2000" kern="0">
              <a:solidFill>
                <a:schemeClr val="bg1">
                  <a:alpha val="77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听听文档 」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4EC4AC92-2800-4841-84A3-26E495F2D178}"/>
              </a:ext>
            </a:extLst>
          </p:cNvPr>
          <p:cNvSpPr txBox="1"/>
          <p:nvPr userDrawn="1"/>
        </p:nvSpPr>
        <p:spPr>
          <a:xfrm>
            <a:off x="8644425" y="5138740"/>
            <a:ext cx="2492990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你的文档创作小助手</a:t>
            </a:r>
            <a:endParaRPr lang="en-US" altLang="zh-CN" sz="2000" kern="0">
              <a:solidFill>
                <a:schemeClr val="bg1">
                  <a:alpha val="77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</a:t>
            </a:r>
            <a:r>
              <a:rPr lang="en-US" altLang="zh-CN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识图 」</a:t>
            </a:r>
          </a:p>
        </p:txBody>
      </p: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F3D082CA-914B-42B8-A86E-16893B7234C9}"/>
              </a:ext>
            </a:extLst>
          </p:cNvPr>
          <p:cNvCxnSpPr/>
          <p:nvPr userDrawn="1"/>
        </p:nvCxnSpPr>
        <p:spPr>
          <a:xfrm>
            <a:off x="4198035" y="5330650"/>
            <a:ext cx="0" cy="65314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5421E3BB-42AC-4DCD-9031-7215136A1844}"/>
              </a:ext>
            </a:extLst>
          </p:cNvPr>
          <p:cNvCxnSpPr/>
          <p:nvPr userDrawn="1"/>
        </p:nvCxnSpPr>
        <p:spPr>
          <a:xfrm>
            <a:off x="7976215" y="5330650"/>
            <a:ext cx="0" cy="65314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图片 21">
            <a:hlinkClick r:id="rId2"/>
            <a:extLst>
              <a:ext uri="{FF2B5EF4-FFF2-40B4-BE49-F238E27FC236}">
                <a16:creationId xmlns:a16="http://schemas.microsoft.com/office/drawing/2014/main" id="{46C855E7-2DCA-4970-A954-7CB7F69FAD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657" y="6345797"/>
            <a:ext cx="1712686" cy="226074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A7F32EC9-ED26-45EE-9DC4-21C3241FF7A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716" y="1726788"/>
            <a:ext cx="2743200" cy="27432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6F84124-CE71-4190-B92C-B61E496F7B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82" y="1726788"/>
            <a:ext cx="2743200" cy="2743200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39B45288-397E-405A-A715-DCD4FE40DCE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9320" y="1726788"/>
            <a:ext cx="2743200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67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1CE3DC02-40DE-4998-B99A-39FCAEB06AC5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687991" y="2215242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689107" y="311059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A81246B4-0650-4320-A820-B417F479A53E}"/>
              </a:ext>
            </a:extLst>
          </p:cNvPr>
          <p:cNvSpPr>
            <a:spLocks/>
          </p:cNvSpPr>
          <p:nvPr userDrawn="1"/>
        </p:nvSpPr>
        <p:spPr bwMode="auto">
          <a:xfrm>
            <a:off x="0" y="1699690"/>
            <a:ext cx="12192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E8E136EA-A8F2-47DA-A96D-77980EAAC351}"/>
              </a:ext>
            </a:extLst>
          </p:cNvPr>
          <p:cNvSpPr>
            <a:spLocks/>
          </p:cNvSpPr>
          <p:nvPr userDrawn="1"/>
        </p:nvSpPr>
        <p:spPr bwMode="auto">
          <a:xfrm>
            <a:off x="2743200" y="3636650"/>
            <a:ext cx="94488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012BB78F-E5F9-495E-969F-BE08951B2F76}"/>
              </a:ext>
            </a:extLst>
          </p:cNvPr>
          <p:cNvSpPr/>
          <p:nvPr userDrawn="1"/>
        </p:nvSpPr>
        <p:spPr>
          <a:xfrm flipV="1">
            <a:off x="0" y="4353146"/>
            <a:ext cx="7610576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CF4B0F25-8F09-4535-B23E-2A4A5AAB2C37}"/>
              </a:ext>
            </a:extLst>
          </p:cNvPr>
          <p:cNvSpPr/>
          <p:nvPr userDrawn="1"/>
        </p:nvSpPr>
        <p:spPr>
          <a:xfrm>
            <a:off x="0" y="1"/>
            <a:ext cx="3213100" cy="2886731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9/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9/7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9B7B4809-6422-487B-B339-AC10E4A5D4B1}"/>
              </a:ext>
            </a:extLst>
          </p:cNvPr>
          <p:cNvGrpSpPr/>
          <p:nvPr userDrawn="1"/>
        </p:nvGrpSpPr>
        <p:grpSpPr>
          <a:xfrm flipH="1">
            <a:off x="0" y="1"/>
            <a:ext cx="12192000" cy="6857999"/>
            <a:chOff x="0" y="1"/>
            <a:chExt cx="12192000" cy="6857999"/>
          </a:xfrm>
        </p:grpSpPr>
        <p:sp>
          <p:nvSpPr>
            <p:cNvPr id="5" name="椭圆 4">
              <a:extLst>
                <a:ext uri="{FF2B5EF4-FFF2-40B4-BE49-F238E27FC236}">
                  <a16:creationId xmlns:a16="http://schemas.microsoft.com/office/drawing/2014/main" id="{FA9CED44-D7E4-44D2-B7FD-F89B4DCC6E54}"/>
                </a:ext>
              </a:extLst>
            </p:cNvPr>
            <p:cNvSpPr/>
            <p:nvPr userDrawn="1"/>
          </p:nvSpPr>
          <p:spPr>
            <a:xfrm>
              <a:off x="7698671" y="715249"/>
              <a:ext cx="3530051" cy="3530051"/>
            </a:xfrm>
            <a:prstGeom prst="ellipse">
              <a:avLst/>
            </a:pr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4BF3A0C-4197-4E26-B94B-4269BB6A25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99690"/>
              <a:ext cx="12192000" cy="5158309"/>
            </a:xfrm>
            <a:custGeom>
              <a:avLst/>
              <a:gdLst>
                <a:gd name="connsiteX0" fmla="*/ 9136649 w 12192000"/>
                <a:gd name="connsiteY0" fmla="*/ 19 h 5158309"/>
                <a:gd name="connsiteX1" fmla="*/ 12127529 w 12192000"/>
                <a:gd name="connsiteY1" fmla="*/ 961461 h 5158309"/>
                <a:gd name="connsiteX2" fmla="*/ 12192000 w 12192000"/>
                <a:gd name="connsiteY2" fmla="*/ 999249 h 5158309"/>
                <a:gd name="connsiteX3" fmla="*/ 12192000 w 12192000"/>
                <a:gd name="connsiteY3" fmla="*/ 5158309 h 5158309"/>
                <a:gd name="connsiteX4" fmla="*/ 0 w 12192000"/>
                <a:gd name="connsiteY4" fmla="*/ 5158309 h 5158309"/>
                <a:gd name="connsiteX5" fmla="*/ 0 w 12192000"/>
                <a:gd name="connsiteY5" fmla="*/ 4381506 h 5158309"/>
                <a:gd name="connsiteX6" fmla="*/ 766800 w 12192000"/>
                <a:gd name="connsiteY6" fmla="*/ 4316986 h 5158309"/>
                <a:gd name="connsiteX7" fmla="*/ 8952198 w 12192000"/>
                <a:gd name="connsiteY7" fmla="*/ 2840206 h 5158309"/>
                <a:gd name="connsiteX8" fmla="*/ 8329819 w 12192000"/>
                <a:gd name="connsiteY8" fmla="*/ 1097121 h 5158309"/>
                <a:gd name="connsiteX9" fmla="*/ 8478005 w 12192000"/>
                <a:gd name="connsiteY9" fmla="*/ 73404 h 5158309"/>
                <a:gd name="connsiteX10" fmla="*/ 9136649 w 12192000"/>
                <a:gd name="connsiteY10" fmla="*/ 19 h 515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92000" h="5158309">
                  <a:moveTo>
                    <a:pt x="9136649" y="19"/>
                  </a:moveTo>
                  <a:cubicBezTo>
                    <a:pt x="10314094" y="3991"/>
                    <a:pt x="11572111" y="642470"/>
                    <a:pt x="12127529" y="961461"/>
                  </a:cubicBezTo>
                  <a:lnTo>
                    <a:pt x="12192000" y="999249"/>
                  </a:lnTo>
                  <a:lnTo>
                    <a:pt x="12192000" y="5158309"/>
                  </a:lnTo>
                  <a:lnTo>
                    <a:pt x="0" y="5158309"/>
                  </a:lnTo>
                  <a:lnTo>
                    <a:pt x="0" y="4381506"/>
                  </a:lnTo>
                  <a:lnTo>
                    <a:pt x="766800" y="4316986"/>
                  </a:lnTo>
                  <a:cubicBezTo>
                    <a:pt x="4095417" y="4019555"/>
                    <a:pt x="7729668" y="3545741"/>
                    <a:pt x="8952198" y="2840206"/>
                  </a:cubicBezTo>
                  <a:cubicBezTo>
                    <a:pt x="11397259" y="1429137"/>
                    <a:pt x="8329819" y="1097121"/>
                    <a:pt x="8329819" y="1097121"/>
                  </a:cubicBezTo>
                  <a:cubicBezTo>
                    <a:pt x="8329819" y="1097121"/>
                    <a:pt x="6655323" y="516093"/>
                    <a:pt x="8478005" y="73404"/>
                  </a:cubicBezTo>
                  <a:cubicBezTo>
                    <a:pt x="8691022" y="21527"/>
                    <a:pt x="8912374" y="-737"/>
                    <a:pt x="9136649" y="19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6F55EC3-3122-4888-ABD7-2A9003A2B6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8307" y="2039469"/>
              <a:ext cx="6070237" cy="3380331"/>
            </a:xfrm>
            <a:custGeom>
              <a:avLst/>
              <a:gdLst>
                <a:gd name="T0" fmla="*/ 0 w 4357"/>
                <a:gd name="T1" fmla="*/ 592 h 2429"/>
                <a:gd name="T2" fmla="*/ 3232 w 4357"/>
                <a:gd name="T3" fmla="*/ 592 h 2429"/>
                <a:gd name="T4" fmla="*/ 2777 w 4357"/>
                <a:gd name="T5" fmla="*/ 1195 h 2429"/>
                <a:gd name="T6" fmla="*/ 2621 w 4357"/>
                <a:gd name="T7" fmla="*/ 1265 h 2429"/>
                <a:gd name="T8" fmla="*/ 2848 w 4357"/>
                <a:gd name="T9" fmla="*/ 1644 h 2429"/>
                <a:gd name="T10" fmla="*/ 3040 w 4357"/>
                <a:gd name="T11" fmla="*/ 2304 h 2429"/>
                <a:gd name="T12" fmla="*/ 0 w 4357"/>
                <a:gd name="T13" fmla="*/ 2208 h 2429"/>
                <a:gd name="T14" fmla="*/ 0 w 4357"/>
                <a:gd name="T15" fmla="*/ 592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57" h="2429">
                  <a:moveTo>
                    <a:pt x="0" y="592"/>
                  </a:moveTo>
                  <a:cubicBezTo>
                    <a:pt x="0" y="592"/>
                    <a:pt x="1964" y="0"/>
                    <a:pt x="3232" y="592"/>
                  </a:cubicBezTo>
                  <a:cubicBezTo>
                    <a:pt x="4357" y="1117"/>
                    <a:pt x="3079" y="1186"/>
                    <a:pt x="2777" y="1195"/>
                  </a:cubicBezTo>
                  <a:cubicBezTo>
                    <a:pt x="2718" y="1196"/>
                    <a:pt x="2661" y="1221"/>
                    <a:pt x="2621" y="1265"/>
                  </a:cubicBezTo>
                  <a:cubicBezTo>
                    <a:pt x="2553" y="1339"/>
                    <a:pt x="2523" y="1471"/>
                    <a:pt x="2848" y="1644"/>
                  </a:cubicBezTo>
                  <a:cubicBezTo>
                    <a:pt x="3368" y="1920"/>
                    <a:pt x="3396" y="2196"/>
                    <a:pt x="3040" y="2304"/>
                  </a:cubicBezTo>
                  <a:cubicBezTo>
                    <a:pt x="2629" y="2429"/>
                    <a:pt x="0" y="2208"/>
                    <a:pt x="0" y="2208"/>
                  </a:cubicBezTo>
                  <a:lnTo>
                    <a:pt x="0" y="592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23000">
                  <a:schemeClr val="accent4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2504953-DBCA-47F8-8B5A-4EF71CB804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43200" y="3636650"/>
              <a:ext cx="9448800" cy="3221350"/>
            </a:xfrm>
            <a:custGeom>
              <a:avLst/>
              <a:gdLst>
                <a:gd name="T0" fmla="*/ 0 w 4860"/>
                <a:gd name="T1" fmla="*/ 1468 h 1672"/>
                <a:gd name="T2" fmla="*/ 3924 w 4860"/>
                <a:gd name="T3" fmla="*/ 920 h 1672"/>
                <a:gd name="T4" fmla="*/ 3756 w 4860"/>
                <a:gd name="T5" fmla="*/ 416 h 1672"/>
                <a:gd name="T6" fmla="*/ 3796 w 4860"/>
                <a:gd name="T7" fmla="*/ 120 h 1672"/>
                <a:gd name="T8" fmla="*/ 4860 w 4860"/>
                <a:gd name="T9" fmla="*/ 428 h 1672"/>
                <a:gd name="T10" fmla="*/ 4860 w 4860"/>
                <a:gd name="T11" fmla="*/ 1672 h 1672"/>
                <a:gd name="T12" fmla="*/ 0 w 4860"/>
                <a:gd name="T13" fmla="*/ 1672 h 1672"/>
                <a:gd name="T14" fmla="*/ 0 w 4860"/>
                <a:gd name="T15" fmla="*/ 1468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60" h="1672">
                  <a:moveTo>
                    <a:pt x="0" y="1468"/>
                  </a:moveTo>
                  <a:cubicBezTo>
                    <a:pt x="0" y="1468"/>
                    <a:pt x="3264" y="1328"/>
                    <a:pt x="3924" y="920"/>
                  </a:cubicBezTo>
                  <a:cubicBezTo>
                    <a:pt x="4584" y="512"/>
                    <a:pt x="3756" y="416"/>
                    <a:pt x="3756" y="416"/>
                  </a:cubicBezTo>
                  <a:cubicBezTo>
                    <a:pt x="3756" y="416"/>
                    <a:pt x="3304" y="248"/>
                    <a:pt x="3796" y="120"/>
                  </a:cubicBezTo>
                  <a:cubicBezTo>
                    <a:pt x="4256" y="0"/>
                    <a:pt x="4860" y="428"/>
                    <a:pt x="4860" y="428"/>
                  </a:cubicBezTo>
                  <a:cubicBezTo>
                    <a:pt x="4860" y="1672"/>
                    <a:pt x="4860" y="1672"/>
                    <a:pt x="4860" y="1672"/>
                  </a:cubicBezTo>
                  <a:cubicBezTo>
                    <a:pt x="0" y="1672"/>
                    <a:pt x="0" y="1672"/>
                    <a:pt x="0" y="1672"/>
                  </a:cubicBezTo>
                  <a:lnTo>
                    <a:pt x="0" y="146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6000">
                  <a:schemeClr val="bg1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25123C0C-7740-4668-9994-48629AE91F14}"/>
                </a:ext>
              </a:extLst>
            </p:cNvPr>
            <p:cNvSpPr/>
            <p:nvPr userDrawn="1"/>
          </p:nvSpPr>
          <p:spPr>
            <a:xfrm>
              <a:off x="0" y="1"/>
              <a:ext cx="4362450" cy="3919337"/>
            </a:xfrm>
            <a:custGeom>
              <a:avLst/>
              <a:gdLst>
                <a:gd name="connsiteX0" fmla="*/ 0 w 5276850"/>
                <a:gd name="connsiteY0" fmla="*/ 0 h 4740857"/>
                <a:gd name="connsiteX1" fmla="*/ 4934008 w 5276850"/>
                <a:gd name="connsiteY1" fmla="*/ 0 h 4740857"/>
                <a:gd name="connsiteX2" fmla="*/ 5018610 w 5276850"/>
                <a:gd name="connsiteY2" fmla="*/ 175624 h 4740857"/>
                <a:gd name="connsiteX3" fmla="*/ 5276850 w 5276850"/>
                <a:gd name="connsiteY3" fmla="*/ 1454732 h 4740857"/>
                <a:gd name="connsiteX4" fmla="*/ 1990725 w 5276850"/>
                <a:gd name="connsiteY4" fmla="*/ 4740857 h 4740857"/>
                <a:gd name="connsiteX5" fmla="*/ 153421 w 5276850"/>
                <a:gd name="connsiteY5" fmla="*/ 4179639 h 4740857"/>
                <a:gd name="connsiteX6" fmla="*/ 0 w 5276850"/>
                <a:gd name="connsiteY6" fmla="*/ 4064913 h 47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6850" h="4740857">
                  <a:moveTo>
                    <a:pt x="0" y="0"/>
                  </a:moveTo>
                  <a:lnTo>
                    <a:pt x="4934008" y="0"/>
                  </a:lnTo>
                  <a:lnTo>
                    <a:pt x="5018610" y="175624"/>
                  </a:lnTo>
                  <a:cubicBezTo>
                    <a:pt x="5184897" y="568770"/>
                    <a:pt x="5276850" y="1001013"/>
                    <a:pt x="5276850" y="1454732"/>
                  </a:cubicBezTo>
                  <a:cubicBezTo>
                    <a:pt x="5276850" y="3269609"/>
                    <a:pt x="3805602" y="4740857"/>
                    <a:pt x="1990725" y="4740857"/>
                  </a:cubicBezTo>
                  <a:cubicBezTo>
                    <a:pt x="1310146" y="4740857"/>
                    <a:pt x="677890" y="4533963"/>
                    <a:pt x="153421" y="4179639"/>
                  </a:cubicBezTo>
                  <a:lnTo>
                    <a:pt x="0" y="4064913"/>
                  </a:lnTo>
                  <a:close/>
                </a:path>
              </a:pathLst>
            </a:cu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DD990525-EB32-44BF-B51C-C218BECA01C2}"/>
                </a:ext>
              </a:extLst>
            </p:cNvPr>
            <p:cNvSpPr/>
            <p:nvPr userDrawn="1"/>
          </p:nvSpPr>
          <p:spPr>
            <a:xfrm>
              <a:off x="934647" y="3122083"/>
              <a:ext cx="2611078" cy="2611078"/>
            </a:xfrm>
            <a:prstGeom prst="ellipse">
              <a:avLst/>
            </a:prstGeom>
            <a:gradFill>
              <a:gsLst>
                <a:gs pos="100000">
                  <a:schemeClr val="accent2"/>
                </a:gs>
                <a:gs pos="0">
                  <a:schemeClr val="accent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5F611E8F-302C-455F-8D3A-3CF52F0DA6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3964" y="1088581"/>
              <a:ext cx="3427706" cy="2895623"/>
            </a:xfrm>
            <a:custGeom>
              <a:avLst/>
              <a:gdLst>
                <a:gd name="T0" fmla="*/ 1149 w 1149"/>
                <a:gd name="T1" fmla="*/ 86 h 971"/>
                <a:gd name="T2" fmla="*/ 427 w 1149"/>
                <a:gd name="T3" fmla="*/ 86 h 971"/>
                <a:gd name="T4" fmla="*/ 539 w 1149"/>
                <a:gd name="T5" fmla="*/ 300 h 971"/>
                <a:gd name="T6" fmla="*/ 254 w 1149"/>
                <a:gd name="T7" fmla="*/ 554 h 971"/>
                <a:gd name="T8" fmla="*/ 336 w 1149"/>
                <a:gd name="T9" fmla="*/ 895 h 971"/>
                <a:gd name="T10" fmla="*/ 1149 w 1149"/>
                <a:gd name="T11" fmla="*/ 895 h 971"/>
                <a:gd name="T12" fmla="*/ 1149 w 1149"/>
                <a:gd name="T13" fmla="*/ 86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9" h="971">
                  <a:moveTo>
                    <a:pt x="1149" y="86"/>
                  </a:moveTo>
                  <a:cubicBezTo>
                    <a:pt x="1149" y="86"/>
                    <a:pt x="508" y="0"/>
                    <a:pt x="427" y="86"/>
                  </a:cubicBezTo>
                  <a:cubicBezTo>
                    <a:pt x="343" y="175"/>
                    <a:pt x="444" y="199"/>
                    <a:pt x="539" y="300"/>
                  </a:cubicBezTo>
                  <a:cubicBezTo>
                    <a:pt x="615" y="381"/>
                    <a:pt x="508" y="473"/>
                    <a:pt x="254" y="554"/>
                  </a:cubicBezTo>
                  <a:cubicBezTo>
                    <a:pt x="0" y="635"/>
                    <a:pt x="20" y="818"/>
                    <a:pt x="336" y="895"/>
                  </a:cubicBezTo>
                  <a:cubicBezTo>
                    <a:pt x="651" y="971"/>
                    <a:pt x="1149" y="895"/>
                    <a:pt x="1149" y="895"/>
                  </a:cubicBezTo>
                  <a:lnTo>
                    <a:pt x="1149" y="86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35C86D5-A76F-422D-BD11-9ABEDF688054}"/>
                </a:ext>
              </a:extLst>
            </p:cNvPr>
            <p:cNvSpPr/>
            <p:nvPr userDrawn="1"/>
          </p:nvSpPr>
          <p:spPr>
            <a:xfrm flipV="1">
              <a:off x="0" y="4353146"/>
              <a:ext cx="7610576" cy="2504854"/>
            </a:xfrm>
            <a:custGeom>
              <a:avLst/>
              <a:gdLst>
                <a:gd name="connsiteX0" fmla="*/ 3160308 w 7610576"/>
                <a:gd name="connsiteY0" fmla="*/ 2504854 h 2504854"/>
                <a:gd name="connsiteX1" fmla="*/ 7486141 w 7610576"/>
                <a:gd name="connsiteY1" fmla="*/ 204827 h 2504854"/>
                <a:gd name="connsiteX2" fmla="*/ 7610576 w 7610576"/>
                <a:gd name="connsiteY2" fmla="*/ 0 h 2504854"/>
                <a:gd name="connsiteX3" fmla="*/ 0 w 7610576"/>
                <a:gd name="connsiteY3" fmla="*/ 0 h 2504854"/>
                <a:gd name="connsiteX4" fmla="*/ 0 w 7610576"/>
                <a:gd name="connsiteY4" fmla="*/ 1431782 h 2504854"/>
                <a:gd name="connsiteX5" fmla="*/ 243558 w 7610576"/>
                <a:gd name="connsiteY5" fmla="*/ 1613912 h 2504854"/>
                <a:gd name="connsiteX6" fmla="*/ 3160308 w 7610576"/>
                <a:gd name="connsiteY6" fmla="*/ 2504854 h 250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0576" h="2504854">
                  <a:moveTo>
                    <a:pt x="3160308" y="2504854"/>
                  </a:moveTo>
                  <a:cubicBezTo>
                    <a:pt x="4961025" y="2504854"/>
                    <a:pt x="6548649" y="1592499"/>
                    <a:pt x="7486141" y="204827"/>
                  </a:cubicBezTo>
                  <a:lnTo>
                    <a:pt x="7610576" y="0"/>
                  </a:lnTo>
                  <a:lnTo>
                    <a:pt x="0" y="0"/>
                  </a:lnTo>
                  <a:lnTo>
                    <a:pt x="0" y="1431782"/>
                  </a:lnTo>
                  <a:lnTo>
                    <a:pt x="243558" y="1613912"/>
                  </a:lnTo>
                  <a:cubicBezTo>
                    <a:pt x="1076162" y="2176407"/>
                    <a:pt x="2079878" y="2504854"/>
                    <a:pt x="3160308" y="2504854"/>
                  </a:cubicBez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矩形 15">
            <a:extLst>
              <a:ext uri="{FF2B5EF4-FFF2-40B4-BE49-F238E27FC236}">
                <a16:creationId xmlns:a16="http://schemas.microsoft.com/office/drawing/2014/main" id="{6B4C74D3-0C8F-48A5-80B7-74125884F2E3}"/>
              </a:ext>
            </a:extLst>
          </p:cNvPr>
          <p:cNvSpPr/>
          <p:nvPr userDrawn="1"/>
        </p:nvSpPr>
        <p:spPr>
          <a:xfrm>
            <a:off x="3268795" y="1030768"/>
            <a:ext cx="5654410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2" y="2034337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2" y="4340573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2963" y="4044302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模板使用技巧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440603" y="759873"/>
            <a:ext cx="1713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lang="zh-CN" altLang="en-US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模板使用技巧</a:t>
            </a:r>
            <a:r>
              <a:rPr lang="en-US" altLang="zh-CN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 1</a:t>
            </a:r>
            <a:endParaRPr lang="zh-CN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/>
              <a:cs typeface="Segoe UI Light"/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440603" y="182445"/>
            <a:ext cx="7777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kumimoji="1"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 charset="0"/>
                <a:cs typeface="Segoe UI Light"/>
              </a:rPr>
              <a:t>OfficePLUS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 charset="0"/>
              <a:cs typeface="Segoe UI Ligh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67B43CCB-1998-4484-B269-9ACB654ACB71}"/>
              </a:ext>
            </a:extLst>
          </p:cNvPr>
          <p:cNvSpPr txBox="1"/>
          <p:nvPr userDrawn="1"/>
        </p:nvSpPr>
        <p:spPr>
          <a:xfrm>
            <a:off x="431800" y="1174234"/>
            <a:ext cx="34676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键调整模板颜色</a:t>
            </a:r>
            <a:endParaRPr lang="en-US" sz="3200" b="1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CF1532F4-AF97-400D-84E6-F00D2B3D35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0" y="2138895"/>
            <a:ext cx="5295899" cy="384702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CA7E11C8-4335-45B0-A270-313A25ABC6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64300" y="2138895"/>
            <a:ext cx="5295900" cy="384702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45615889-3ACE-4C91-970F-789D759EAC1E}"/>
              </a:ext>
            </a:extLst>
          </p:cNvPr>
          <p:cNvSpPr txBox="1"/>
          <p:nvPr userDrawn="1"/>
        </p:nvSpPr>
        <p:spPr>
          <a:xfrm>
            <a:off x="333477" y="6061002"/>
            <a:ext cx="31838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“设计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变体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颜色”；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CD19D40D-978A-4E04-8450-F6DC61B85399}"/>
              </a:ext>
            </a:extLst>
          </p:cNvPr>
          <p:cNvSpPr txBox="1"/>
          <p:nvPr userDrawn="1"/>
        </p:nvSpPr>
        <p:spPr>
          <a:xfrm>
            <a:off x="6360651" y="6061002"/>
            <a:ext cx="45624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你喜欢的颜色搭配，模板一秒调整为你选颜色。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299860AF-0C43-4649-A586-85D19517B6F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005928" y="2609333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A6130A4D-8EC7-4AC1-B434-55DC6910286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787853" y="4257158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15470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模板使用技巧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554DB237-C74A-4BA8-A097-6A053DD3C747}"/>
              </a:ext>
            </a:extLst>
          </p:cNvPr>
          <p:cNvSpPr/>
          <p:nvPr userDrawn="1"/>
        </p:nvSpPr>
        <p:spPr>
          <a:xfrm>
            <a:off x="440603" y="759873"/>
            <a:ext cx="17508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lang="zh-CN" altLang="en-US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模板使用技巧</a:t>
            </a:r>
            <a:r>
              <a:rPr lang="en-US" altLang="zh-CN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 2</a:t>
            </a:r>
            <a:endParaRPr lang="zh-CN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/>
              <a:cs typeface="Segoe UI Ligh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4172DAD1-F67C-4AB8-ACEF-004237CB3D3F}"/>
              </a:ext>
            </a:extLst>
          </p:cNvPr>
          <p:cNvSpPr/>
          <p:nvPr userDrawn="1"/>
        </p:nvSpPr>
        <p:spPr>
          <a:xfrm>
            <a:off x="440603" y="182445"/>
            <a:ext cx="7777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kumimoji="1"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 charset="0"/>
                <a:cs typeface="Segoe UI Light"/>
              </a:rPr>
              <a:t>OfficePLUS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 charset="0"/>
              <a:cs typeface="Segoe UI Light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300B558-79C0-475E-84A0-11700A36CA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0" y="2138895"/>
            <a:ext cx="5295899" cy="384702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DFDE997-A67B-4FD0-B6AC-78D1EFE6348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64301" y="2138895"/>
            <a:ext cx="5295900" cy="384702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3E1E676E-E869-48CE-BFB9-1C7FC981B376}"/>
              </a:ext>
            </a:extLst>
          </p:cNvPr>
          <p:cNvSpPr txBox="1"/>
          <p:nvPr userDrawn="1"/>
        </p:nvSpPr>
        <p:spPr>
          <a:xfrm>
            <a:off x="431800" y="1174234"/>
            <a:ext cx="34676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随时添加模板样式</a:t>
            </a:r>
            <a:endParaRPr lang="en-US" sz="3200" b="1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768A42A-9DCD-4784-A3EF-F1D80ADC183F}"/>
              </a:ext>
            </a:extLst>
          </p:cNvPr>
          <p:cNvSpPr txBox="1"/>
          <p:nvPr userDrawn="1"/>
        </p:nvSpPr>
        <p:spPr>
          <a:xfrm>
            <a:off x="333477" y="6061002"/>
            <a:ext cx="30107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“开始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新建幻灯片”；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BF8689A3-CABF-445F-829F-6396154A55D1}"/>
              </a:ext>
            </a:extLst>
          </p:cNvPr>
          <p:cNvSpPr txBox="1"/>
          <p:nvPr userDrawn="1"/>
        </p:nvSpPr>
        <p:spPr>
          <a:xfrm>
            <a:off x="6360651" y="6061002"/>
            <a:ext cx="52565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你需要的页面，如封面页，目录页，副标题页，内容页等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…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D7C9996A-24BA-4EE9-BA5A-589E1841918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00878" y="2428358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927712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关注微软Office文档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F3BB9638-2D2F-48B1-A8CF-673B237DCC17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rgbClr val="E73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120C7C91-35F0-46E5-B511-2314CED2655F}"/>
              </a:ext>
            </a:extLst>
          </p:cNvPr>
          <p:cNvSpPr/>
          <p:nvPr userDrawn="1"/>
        </p:nvSpPr>
        <p:spPr>
          <a:xfrm>
            <a:off x="1079465" y="1527629"/>
            <a:ext cx="3802742" cy="3802742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 descr="图片包含 纵横字谜, 文字&#10;&#10;已生成极高可信度的说明">
            <a:extLst>
              <a:ext uri="{FF2B5EF4-FFF2-40B4-BE49-F238E27FC236}">
                <a16:creationId xmlns:a16="http://schemas.microsoft.com/office/drawing/2014/main" id="{25779B21-3BC1-4E47-8650-6B0E785B51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08065" y="1756229"/>
            <a:ext cx="3345542" cy="3345542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343024A3-25F7-4B9A-9876-36F35421F6E6}"/>
              </a:ext>
            </a:extLst>
          </p:cNvPr>
          <p:cNvSpPr txBox="1"/>
          <p:nvPr userDrawn="1"/>
        </p:nvSpPr>
        <p:spPr>
          <a:xfrm>
            <a:off x="5239657" y="1566506"/>
            <a:ext cx="6013185" cy="35492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办公模板更新</a:t>
            </a:r>
            <a:endParaRPr lang="en-US" altLang="zh-CN" sz="3600" b="1" ker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微软</a:t>
            </a:r>
            <a:endParaRPr lang="en-US" altLang="zh-CN" sz="3600" b="1" ker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微信扫码关注</a:t>
            </a:r>
            <a:endParaRPr lang="en-US" altLang="zh-CN" sz="36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「 微软</a:t>
            </a:r>
            <a:r>
              <a:rPr lang="en-US" altLang="zh-CN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ffice</a:t>
            </a: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文档 」服务号</a:t>
            </a:r>
            <a:endParaRPr lang="en-US" altLang="zh-CN" sz="36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pic>
        <p:nvPicPr>
          <p:cNvPr id="7" name="图片 6">
            <a:hlinkClick r:id="rId3"/>
            <a:extLst>
              <a:ext uri="{FF2B5EF4-FFF2-40B4-BE49-F238E27FC236}">
                <a16:creationId xmlns:a16="http://schemas.microsoft.com/office/drawing/2014/main" id="{5524D02C-49CE-4D3D-8B89-07CEC3966F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657" y="6345797"/>
            <a:ext cx="1712686" cy="226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035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9/7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5951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zh.cppreference.com/w/cpp/language/lifetime" TargetMode="External"/><Relationship Id="rId3" Type="http://schemas.openxmlformats.org/officeDocument/2006/relationships/hyperlink" Target="https://zh.cppreference.com/w/cpp/language/destructor" TargetMode="External"/><Relationship Id="rId7" Type="http://schemas.openxmlformats.org/officeDocument/2006/relationships/hyperlink" Target="https://zh.cppreference.com/w/cpp/language/raii#cite_note-2" TargetMode="External"/><Relationship Id="rId2" Type="http://schemas.openxmlformats.org/officeDocument/2006/relationships/hyperlink" Target="https://zh.cppreference.com/w/cpp/language/rule_of_three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zh.cppreference.com/w/cpp/language/raii#cite_note-1" TargetMode="External"/><Relationship Id="rId5" Type="http://schemas.openxmlformats.org/officeDocument/2006/relationships/hyperlink" Target="https://zh.cppreference.com/w/cpp/language/copy_assignment" TargetMode="External"/><Relationship Id="rId10" Type="http://schemas.openxmlformats.org/officeDocument/2006/relationships/image" Target="../media/image25.png"/><Relationship Id="rId4" Type="http://schemas.openxmlformats.org/officeDocument/2006/relationships/hyperlink" Target="https://zh.cppreference.com/w/cpp/language/copy_constructor" TargetMode="External"/><Relationship Id="rId9" Type="http://schemas.openxmlformats.org/officeDocument/2006/relationships/hyperlink" Target="https://zh.cppreference.com/w/cpp/language/raii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zh.cppreference.com/w/cpp/language/rule_of_three" TargetMode="Externa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coderun.ca/programming/doxygen/opencv/classcv_1_1Mat.html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opencv.org/3.1.0/d3/d63/classcv_1_1Mat.html" TargetMode="Externa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opencv.jp/cookbook/opencv_mat.html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SfGuIVzE_Os&amp;list=PLlrATfBNZ98dudnM48yfGUldqGD0S4FFb&amp;index=5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anler/superpower19classifier/blob/master/CMakeLists.txt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www.google.com/" TargetMode="External"/><Relationship Id="rId4" Type="http://schemas.openxmlformats.org/officeDocument/2006/relationships/hyperlink" Target="https://zh.wikibooks.org/zh/CMake_%E5%85%A5%E9%96%80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3268794" y="3829854"/>
            <a:ext cx="5654410" cy="1257932"/>
          </a:xfrm>
        </p:spPr>
        <p:txBody>
          <a:bodyPr>
            <a:normAutofit/>
          </a:bodyPr>
          <a:lstStyle/>
          <a:p>
            <a:r>
              <a:rPr lang="en-US" altLang="zh-CN" b="1" dirty="0">
                <a:latin typeface="Constantia" panose="02030602050306030303" pitchFamily="18" charset="0"/>
              </a:rPr>
              <a:t>Write a classifier from scratch </a:t>
            </a:r>
          </a:p>
          <a:p>
            <a:r>
              <a:rPr lang="en-US" altLang="zh-CN" sz="1400" dirty="0">
                <a:latin typeface="Constantia" panose="02030602050306030303" pitchFamily="18" charset="0"/>
              </a:rPr>
              <a:t>using OpenCV and Modern C++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i="1" dirty="0" err="1"/>
              <a:t>SuperPower</a:t>
            </a:r>
            <a:br>
              <a:rPr lang="en-US" altLang="zh-CN" i="1" dirty="0"/>
            </a:br>
            <a:r>
              <a:rPr lang="en-US" altLang="zh-CN" i="1" dirty="0"/>
              <a:t> </a:t>
            </a:r>
            <a:r>
              <a:rPr lang="en-US" altLang="zh-CN" sz="7300" i="1" dirty="0">
                <a:solidFill>
                  <a:schemeClr val="accent3">
                    <a:lumMod val="75000"/>
                  </a:schemeClr>
                </a:solidFill>
              </a:rPr>
              <a:t>Vision Group</a:t>
            </a:r>
            <a:br>
              <a:rPr lang="en-US" altLang="zh-CN" i="1" dirty="0"/>
            </a:br>
            <a:r>
              <a:rPr lang="en-US" altLang="zh-CN" i="1" dirty="0"/>
              <a:t>Team Training</a:t>
            </a:r>
            <a:endParaRPr lang="zh-CN" altLang="en-US" i="1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3268795" y="5367630"/>
            <a:ext cx="5654410" cy="296271"/>
          </a:xfrm>
        </p:spPr>
        <p:txBody>
          <a:bodyPr/>
          <a:lstStyle/>
          <a:p>
            <a:r>
              <a:rPr lang="en-US" altLang="zh-CN" b="1" dirty="0">
                <a:latin typeface="Consolas" panose="020B0609020204030204" pitchFamily="49" charset="0"/>
              </a:rPr>
              <a:t>Jiawei Liu =&gt; </a:t>
            </a:r>
            <a:r>
              <a:rPr lang="en-US" altLang="zh-CN" u="sng" dirty="0">
                <a:solidFill>
                  <a:schemeClr val="accent3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jaway.liu@gmail.com</a:t>
            </a:r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6599F528-7348-4F9C-9FC9-A69C4B5650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68794" y="5684800"/>
            <a:ext cx="5654410" cy="296271"/>
          </a:xfrm>
        </p:spPr>
        <p:txBody>
          <a:bodyPr/>
          <a:lstStyle/>
          <a:p>
            <a:r>
              <a:rPr lang="en-US" altLang="zh-CN" dirty="0"/>
              <a:t>2019/9/7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3F24B4-0407-45C6-AEB1-C5162B114D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lease try to get used to this …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BE945F4-BC17-4575-90FF-38E6E4A082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BA576C7-1B01-4742-8622-DA1A24656F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518391"/>
            <a:ext cx="10855916" cy="3848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6568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157CF2A-2CE2-4321-8428-B24E0DB27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ynamic Array Clas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6EA4785-8FDB-442E-89E6-3E7CEE23A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B174DCF4-7B21-43E4-ABB7-6C027065E6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9964" y="1246126"/>
            <a:ext cx="5170481" cy="520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2666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AC3F03A-DEDB-4C4E-9743-ED93CAE13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ule of Three &amp; RAII(Resource Acquisition Is Initialization)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AAAB6E7-AA5D-47B5-B7C6-D1E1C8A23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15E70DA-FBD6-4B74-B16F-4D5F51D96CC0}"/>
              </a:ext>
            </a:extLst>
          </p:cNvPr>
          <p:cNvSpPr/>
          <p:nvPr/>
        </p:nvSpPr>
        <p:spPr>
          <a:xfrm>
            <a:off x="438150" y="6095143"/>
            <a:ext cx="61350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hlinkClick r:id="rId2"/>
              </a:rPr>
              <a:t>https://zh.cppreference.com/w/cpp/language/rule_of_three</a:t>
            </a:r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C4A6771-6F65-4DFD-A8B1-C04D26F42330}"/>
              </a:ext>
            </a:extLst>
          </p:cNvPr>
          <p:cNvSpPr txBox="1"/>
          <p:nvPr/>
        </p:nvSpPr>
        <p:spPr>
          <a:xfrm>
            <a:off x="438150" y="4659183"/>
            <a:ext cx="4641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若某个类需要用户定义的</a:t>
            </a:r>
            <a:r>
              <a:rPr lang="zh-CN" altLang="en-US" dirty="0">
                <a:hlinkClick r:id="rId3" tooltip="cpp/language/destructor"/>
              </a:rPr>
              <a:t>析构函数</a:t>
            </a:r>
            <a:r>
              <a:rPr lang="zh-CN" altLang="en-US" dirty="0"/>
              <a:t>、用户定义的</a:t>
            </a:r>
            <a:r>
              <a:rPr lang="zh-CN" altLang="en-US" dirty="0">
                <a:hlinkClick r:id="rId4" tooltip="cpp/language/copy constructor"/>
              </a:rPr>
              <a:t>复制构造函数</a:t>
            </a:r>
            <a:r>
              <a:rPr lang="zh-CN" altLang="en-US" dirty="0"/>
              <a:t>或用户定义的</a:t>
            </a:r>
            <a:r>
              <a:rPr lang="zh-CN" altLang="en-US" dirty="0">
                <a:hlinkClick r:id="rId5" tooltip="cpp/language/copy assignment"/>
              </a:rPr>
              <a:t>复制赋值运算符</a:t>
            </a:r>
            <a:r>
              <a:rPr lang="zh-CN" altLang="en-US" dirty="0"/>
              <a:t>，则它几乎肯定三者全部都需要。</a:t>
            </a:r>
            <a:endParaRPr lang="en-US" altLang="zh-CN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10BC7EBE-A64F-4BCB-83A6-B6B84D9CF82F}"/>
              </a:ext>
            </a:extLst>
          </p:cNvPr>
          <p:cNvSpPr/>
          <p:nvPr/>
        </p:nvSpPr>
        <p:spPr>
          <a:xfrm>
            <a:off x="438150" y="1275487"/>
            <a:ext cx="501015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i="1" dirty="0">
                <a:solidFill>
                  <a:srgbClr val="000000"/>
                </a:solidFill>
                <a:latin typeface="DejaVuSans"/>
              </a:rPr>
              <a:t>资源获取即初始化</a:t>
            </a:r>
            <a:r>
              <a:rPr lang="zh-CN" altLang="en-US" dirty="0">
                <a:solidFill>
                  <a:srgbClr val="000000"/>
                </a:solidFill>
                <a:latin typeface="DejaVuSans"/>
              </a:rPr>
              <a:t>（</a:t>
            </a:r>
            <a:r>
              <a:rPr lang="en-US" altLang="zh-CN" i="1" dirty="0">
                <a:solidFill>
                  <a:srgbClr val="000000"/>
                </a:solidFill>
                <a:latin typeface="DejaVuSans"/>
              </a:rPr>
              <a:t>Resource Acquisition Is Initialization</a:t>
            </a:r>
            <a:r>
              <a:rPr lang="zh-CN" altLang="en-US" dirty="0">
                <a:solidFill>
                  <a:srgbClr val="000000"/>
                </a:solidFill>
                <a:latin typeface="DejaVuSans"/>
              </a:rPr>
              <a:t>），或称 </a:t>
            </a:r>
            <a:r>
              <a:rPr lang="en-US" altLang="zh-CN" dirty="0">
                <a:solidFill>
                  <a:srgbClr val="000000"/>
                </a:solidFill>
                <a:latin typeface="DejaVuSans"/>
              </a:rPr>
              <a:t>RAII</a:t>
            </a:r>
            <a:r>
              <a:rPr lang="zh-CN" altLang="en-US" dirty="0">
                <a:solidFill>
                  <a:srgbClr val="000000"/>
                </a:solidFill>
                <a:latin typeface="DejaVuSans"/>
              </a:rPr>
              <a:t>，是一种 </a:t>
            </a:r>
            <a:r>
              <a:rPr lang="en-US" altLang="zh-CN" dirty="0">
                <a:solidFill>
                  <a:srgbClr val="000000"/>
                </a:solidFill>
                <a:latin typeface="DejaVuSans"/>
              </a:rPr>
              <a:t>C++ </a:t>
            </a:r>
            <a:r>
              <a:rPr lang="zh-CN" altLang="en-US" dirty="0">
                <a:solidFill>
                  <a:srgbClr val="000000"/>
                </a:solidFill>
                <a:latin typeface="DejaVuSans"/>
              </a:rPr>
              <a:t>编程技术</a:t>
            </a:r>
            <a:r>
              <a:rPr lang="en-US" altLang="zh-CN" baseline="30000" dirty="0">
                <a:solidFill>
                  <a:srgbClr val="0B0080"/>
                </a:solidFill>
                <a:latin typeface="DejaVuSans"/>
                <a:hlinkClick r:id="rId6"/>
              </a:rPr>
              <a:t>[1]</a:t>
            </a:r>
            <a:r>
              <a:rPr lang="en-US" altLang="zh-CN" baseline="30000" dirty="0">
                <a:solidFill>
                  <a:srgbClr val="0B0080"/>
                </a:solidFill>
                <a:latin typeface="DejaVuSans"/>
                <a:hlinkClick r:id="rId7"/>
              </a:rPr>
              <a:t>[2]</a:t>
            </a:r>
            <a:r>
              <a:rPr lang="zh-CN" altLang="en-US" dirty="0">
                <a:solidFill>
                  <a:srgbClr val="000000"/>
                </a:solidFill>
                <a:latin typeface="DejaVuSans"/>
              </a:rPr>
              <a:t>，它将必须在使用前请求的资源（分配的堆内存、执行线程、打开的套接字、打开的文件、锁定的互斥体、磁盘空间、数据库连接等</a:t>
            </a:r>
            <a:r>
              <a:rPr lang="en-US" altLang="zh-CN" dirty="0">
                <a:solidFill>
                  <a:srgbClr val="000000"/>
                </a:solidFill>
                <a:latin typeface="DejaVuSans"/>
              </a:rPr>
              <a:t>——</a:t>
            </a:r>
            <a:r>
              <a:rPr lang="zh-CN" altLang="en-US" dirty="0">
                <a:solidFill>
                  <a:srgbClr val="000000"/>
                </a:solidFill>
                <a:latin typeface="DejaVuSans"/>
              </a:rPr>
              <a:t>任何存在受限供给中的事物）的生命周期绑定与一个对象的</a:t>
            </a:r>
            <a:r>
              <a:rPr lang="zh-CN" altLang="en-US" dirty="0">
                <a:solidFill>
                  <a:srgbClr val="0B0080"/>
                </a:solidFill>
                <a:latin typeface="DejaVuSans"/>
                <a:hlinkClick r:id="rId8" tooltip="cpp/language/lifetime"/>
              </a:rPr>
              <a:t>生存期</a:t>
            </a:r>
            <a:r>
              <a:rPr lang="zh-CN" altLang="en-US" dirty="0">
                <a:solidFill>
                  <a:srgbClr val="000000"/>
                </a:solidFill>
                <a:latin typeface="DejaVuSans"/>
              </a:rPr>
              <a:t>相绑定。</a:t>
            </a:r>
            <a:endParaRPr lang="en-US" altLang="zh-CN" dirty="0">
              <a:solidFill>
                <a:srgbClr val="000000"/>
              </a:solidFill>
              <a:latin typeface="DejaVuSans"/>
            </a:endParaRPr>
          </a:p>
          <a:p>
            <a:endParaRPr lang="en-US" altLang="zh-CN" dirty="0">
              <a:solidFill>
                <a:srgbClr val="000000"/>
              </a:solidFill>
              <a:latin typeface="DejaVuSans"/>
            </a:endParaRPr>
          </a:p>
          <a:p>
            <a:r>
              <a:rPr lang="zh-CN" altLang="en-US" b="1" u="sng" dirty="0">
                <a:solidFill>
                  <a:srgbClr val="000000"/>
                </a:solidFill>
                <a:latin typeface="DejaVuSans"/>
              </a:rPr>
              <a:t>在构造函数中申请资源，在析构函数中释放资源。</a:t>
            </a:r>
            <a:endParaRPr lang="zh-CN" altLang="en-US" b="1" u="sng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03F3E767-4066-4D36-B836-DE74A3F1A25C}"/>
              </a:ext>
            </a:extLst>
          </p:cNvPr>
          <p:cNvSpPr/>
          <p:nvPr/>
        </p:nvSpPr>
        <p:spPr>
          <a:xfrm>
            <a:off x="438150" y="5683590"/>
            <a:ext cx="50834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hlinkClick r:id="rId9"/>
              </a:rPr>
              <a:t>https://zh.cppreference.com/w/cpp/language/raii</a:t>
            </a:r>
            <a:endParaRPr lang="zh-CN" altLang="en-US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9D259C42-821F-4AE7-9DFE-5857091FE59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9875" y="0"/>
            <a:ext cx="60321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9943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9B3F1A0-E0C3-456E-911D-2C2419CF66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ve semantic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5C103DF-E4CF-46B9-872A-0B26FB93A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4B6AD9F8-EDC8-47B0-8479-8476B70355E2}"/>
              </a:ext>
            </a:extLst>
          </p:cNvPr>
          <p:cNvSpPr txBox="1"/>
          <p:nvPr/>
        </p:nvSpPr>
        <p:spPr>
          <a:xfrm>
            <a:off x="768350" y="1377950"/>
            <a:ext cx="99758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如果一个对象满足以下两个条件之一，即可称为</a:t>
            </a:r>
            <a:r>
              <a:rPr lang="zh-CN" altLang="en-US" b="1" dirty="0"/>
              <a:t>左值</a:t>
            </a:r>
            <a:r>
              <a:rPr lang="zh-CN" altLang="en-US" dirty="0"/>
              <a:t>：</a:t>
            </a:r>
            <a:br>
              <a:rPr lang="zh-CN" altLang="en-US" dirty="0"/>
            </a:br>
            <a:r>
              <a:rPr lang="en-US" altLang="zh-CN" dirty="0"/>
              <a:t>1. </a:t>
            </a:r>
            <a:r>
              <a:rPr lang="zh-CN" altLang="en-US" dirty="0"/>
              <a:t>能取到它的地址</a:t>
            </a:r>
            <a:br>
              <a:rPr lang="zh-CN" altLang="en-US" dirty="0"/>
            </a:br>
            <a:r>
              <a:rPr lang="en-US" altLang="zh-CN" dirty="0"/>
              <a:t>2. </a:t>
            </a:r>
            <a:r>
              <a:rPr lang="zh-CN" altLang="en-US" dirty="0"/>
              <a:t>有名字</a:t>
            </a:r>
            <a:endParaRPr lang="en-US" altLang="zh-CN" dirty="0"/>
          </a:p>
          <a:p>
            <a:r>
              <a:rPr lang="zh-CN" altLang="en-US" dirty="0"/>
              <a:t>否则叫</a:t>
            </a:r>
            <a:r>
              <a:rPr lang="zh-CN" altLang="en-US" b="1" dirty="0"/>
              <a:t>右值。</a:t>
            </a:r>
            <a:endParaRPr lang="en-US" altLang="zh-CN" b="1" dirty="0"/>
          </a:p>
          <a:p>
            <a:r>
              <a:rPr lang="zh-CN" altLang="en-US" dirty="0"/>
              <a:t>可使用</a:t>
            </a:r>
            <a:r>
              <a:rPr lang="en-US" altLang="zh-CN" b="1" dirty="0"/>
              <a:t>std::move</a:t>
            </a:r>
            <a:r>
              <a:rPr lang="zh-CN" altLang="en-US" dirty="0"/>
              <a:t>将左值转化为右值。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F5C19FA-5CDC-4908-BAF9-896D207EAB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8930" y="2786526"/>
            <a:ext cx="8972550" cy="399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2738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4245375-090A-42A3-830C-74EE44D0C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ve semantic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D26998F-8F89-40FA-A18B-2F5EF3458C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4A7777C-A2B9-4489-AF5B-052E2B0DE381}"/>
              </a:ext>
            </a:extLst>
          </p:cNvPr>
          <p:cNvSpPr txBox="1"/>
          <p:nvPr/>
        </p:nvSpPr>
        <p:spPr>
          <a:xfrm>
            <a:off x="527050" y="1225550"/>
            <a:ext cx="65151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Now we have 2 reference type! We can do more things now.</a:t>
            </a:r>
          </a:p>
          <a:p>
            <a:r>
              <a:rPr lang="en-US" altLang="zh-CN" dirty="0"/>
              <a:t>Generally:</a:t>
            </a:r>
          </a:p>
          <a:p>
            <a:pPr marL="285750" indent="-285750">
              <a:buFontTx/>
              <a:buChar char="-"/>
            </a:pPr>
            <a:r>
              <a:rPr lang="en-US" altLang="zh-CN" dirty="0"/>
              <a:t>l-ref =&gt; copy semantics(deep copy)</a:t>
            </a:r>
          </a:p>
          <a:p>
            <a:pPr marL="285750" indent="-285750">
              <a:buFontTx/>
              <a:buChar char="-"/>
            </a:pPr>
            <a:r>
              <a:rPr lang="en-US" altLang="zh-CN" dirty="0"/>
              <a:t>r-ref =&gt; copy semantics(Give me your resource)</a:t>
            </a:r>
          </a:p>
          <a:p>
            <a:pPr marL="285750" indent="-285750">
              <a:buFontTx/>
              <a:buChar char="-"/>
            </a:pP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247DAE6-0339-449F-8C2E-4CBFC3129E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4576" y="2537608"/>
            <a:ext cx="7468374" cy="3657113"/>
          </a:xfrm>
          <a:prstGeom prst="rect">
            <a:avLst/>
          </a:prstGeom>
        </p:spPr>
      </p:pic>
      <p:cxnSp>
        <p:nvCxnSpPr>
          <p:cNvPr id="9" name="直接箭头连接符 8">
            <a:extLst>
              <a:ext uri="{FF2B5EF4-FFF2-40B4-BE49-F238E27FC236}">
                <a16:creationId xmlns:a16="http://schemas.microsoft.com/office/drawing/2014/main" id="{E62F3A9A-7AE3-4FA2-8F61-7CED075FB5BA}"/>
              </a:ext>
            </a:extLst>
          </p:cNvPr>
          <p:cNvCxnSpPr/>
          <p:nvPr/>
        </p:nvCxnSpPr>
        <p:spPr>
          <a:xfrm>
            <a:off x="4476750" y="2019300"/>
            <a:ext cx="857250" cy="68357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40136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095F96B-17E6-46C3-BAB1-B0FD6B2F3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ve semantic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C87DBC5-528A-4FCC-B7B1-F6EC7D11B7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pic>
        <p:nvPicPr>
          <p:cNvPr id="5" name="Picture 2" descr="âC++ moveâçå¾çæç´¢ç»æ">
            <a:extLst>
              <a:ext uri="{FF2B5EF4-FFF2-40B4-BE49-F238E27FC236}">
                <a16:creationId xmlns:a16="http://schemas.microsoft.com/office/drawing/2014/main" id="{02FCF9E6-8900-4F42-A239-C54219A15F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075" y="1135225"/>
            <a:ext cx="6423025" cy="2737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3B2BBA64-9D8C-4BF6-AD37-ED43279992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9148" y="3872702"/>
            <a:ext cx="6108878" cy="2574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5821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5F190E5-E4E5-420E-B0DD-F3F069259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ve vs No Mov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54406FE-D0D4-49DF-B523-3283D5A36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F623C0A-6213-4C8D-8C91-CE364694D8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8760" y="1145135"/>
            <a:ext cx="9313090" cy="497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705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23D7C08-4E8F-4670-876B-B20B0285E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ule of Fiv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6584AB9-E530-4CCA-83CC-49F7F8B5D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A9904F6-5201-404F-9637-C1A20ED6C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704EBC5A-1C7F-4033-AEEF-2EA76EB274F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8295" y="-1"/>
            <a:ext cx="5109210" cy="6858000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00627F0-040E-489C-8BC8-DCF6F1ECE975}"/>
              </a:ext>
            </a:extLst>
          </p:cNvPr>
          <p:cNvSpPr txBox="1"/>
          <p:nvPr/>
        </p:nvSpPr>
        <p:spPr>
          <a:xfrm>
            <a:off x="584200" y="1816100"/>
            <a:ext cx="39306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Based on rule of 3:</a:t>
            </a:r>
          </a:p>
          <a:p>
            <a:r>
              <a:rPr lang="en-US" altLang="zh-CN" dirty="0"/>
              <a:t>+</a:t>
            </a:r>
          </a:p>
          <a:p>
            <a:r>
              <a:rPr lang="en-US" altLang="zh-CN" dirty="0"/>
              <a:t>	</a:t>
            </a:r>
            <a:r>
              <a:rPr lang="en-US" altLang="zh-CN" b="1" dirty="0"/>
              <a:t>Move construction.</a:t>
            </a:r>
          </a:p>
          <a:p>
            <a:r>
              <a:rPr lang="en-US" altLang="zh-CN" b="1" dirty="0"/>
              <a:t>	Move assignment</a:t>
            </a:r>
            <a:r>
              <a:rPr lang="en-US" altLang="zh-CN" dirty="0"/>
              <a:t>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279929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0F1A2E0-E185-48EF-B2D0-2F42F6D9B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ly this for all types – using template programming.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7C51C98-233E-4172-BD41-6DAAF48216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EC565D5-D027-44C7-940F-3115E596FE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57568" y="2749874"/>
            <a:ext cx="5275273" cy="1358252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CCE8A52D-1C2D-4C45-AC83-E901B5D9E30D}"/>
              </a:ext>
            </a:extLst>
          </p:cNvPr>
          <p:cNvSpPr txBox="1"/>
          <p:nvPr/>
        </p:nvSpPr>
        <p:spPr>
          <a:xfrm>
            <a:off x="669924" y="4743450"/>
            <a:ext cx="64992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More than all this: </a:t>
            </a:r>
          </a:p>
          <a:p>
            <a:pPr marL="285750" indent="-285750">
              <a:buFontTx/>
              <a:buChar char="-"/>
            </a:pPr>
            <a:r>
              <a:rPr lang="en-US" altLang="zh-CN" dirty="0"/>
              <a:t>rule of zero. (self-learning)</a:t>
            </a:r>
          </a:p>
          <a:p>
            <a:pPr marL="285750" indent="-285750">
              <a:buFontTx/>
              <a:buChar char="-"/>
            </a:pPr>
            <a:r>
              <a:rPr lang="en-US" altLang="zh-CN" dirty="0"/>
              <a:t>For a header-only class, use inline for each function.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E9138099-AC25-4811-8704-B46CACC6BF8C}"/>
              </a:ext>
            </a:extLst>
          </p:cNvPr>
          <p:cNvSpPr/>
          <p:nvPr/>
        </p:nvSpPr>
        <p:spPr>
          <a:xfrm>
            <a:off x="596900" y="5871131"/>
            <a:ext cx="61350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hlinkClick r:id="rId3"/>
              </a:rPr>
              <a:t>https://zh.cppreference.com/w/cpp/language/rule_of_thre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043139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rite a classifier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r>
              <a:rPr lang="en-US" altLang="zh-CN" b="1" dirty="0"/>
              <a:t>General algorithm pipeline</a:t>
            </a:r>
          </a:p>
          <a:p>
            <a:pPr lvl="0">
              <a:lnSpc>
                <a:spcPct val="100000"/>
              </a:lnSpc>
            </a:pPr>
            <a:r>
              <a:rPr lang="en-US" altLang="zh-CN" b="1" dirty="0"/>
              <a:t>Implementation</a:t>
            </a:r>
            <a:endParaRPr lang="zh-CN" altLang="en-US" b="1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06021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ome Basic Knowledg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r>
              <a:rPr lang="en-US" altLang="zh-CN" b="1" dirty="0"/>
              <a:t>OpenCV:</a:t>
            </a:r>
            <a:r>
              <a:rPr lang="en-US" altLang="zh-CN" dirty="0"/>
              <a:t> IO &amp; Image Model &amp; Thresholding</a:t>
            </a:r>
          </a:p>
          <a:p>
            <a:pPr lvl="0">
              <a:lnSpc>
                <a:spcPct val="100000"/>
              </a:lnSpc>
            </a:pPr>
            <a:r>
              <a:rPr lang="en-US" altLang="zh-CN" b="1" dirty="0" err="1"/>
              <a:t>CMake</a:t>
            </a:r>
            <a:r>
              <a:rPr lang="en-US" altLang="zh-CN" b="1" dirty="0"/>
              <a:t>: </a:t>
            </a:r>
            <a:r>
              <a:rPr lang="en-US" altLang="zh-CN" dirty="0"/>
              <a:t>Basic Usage</a:t>
            </a:r>
          </a:p>
          <a:p>
            <a:pPr lvl="0">
              <a:lnSpc>
                <a:spcPct val="100000"/>
              </a:lnSpc>
            </a:pPr>
            <a:r>
              <a:rPr lang="en-US" altLang="zh-CN" b="1" dirty="0"/>
              <a:t>C++: </a:t>
            </a:r>
            <a:r>
              <a:rPr lang="en-US" altLang="zh-CN" dirty="0"/>
              <a:t>Learning</a:t>
            </a:r>
            <a:r>
              <a:rPr lang="en-US" altLang="zh-CN" b="1" dirty="0"/>
              <a:t> </a:t>
            </a:r>
            <a:r>
              <a:rPr lang="en-US" altLang="zh-CN" dirty="0"/>
              <a:t>Modern C++ via a custom array class</a:t>
            </a:r>
          </a:p>
          <a:p>
            <a:pPr lvl="0">
              <a:lnSpc>
                <a:spcPct val="100000"/>
              </a:lnSpc>
            </a:pP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5F190E5-E4E5-420E-B0DD-F3F069259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ample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54406FE-D0D4-49DF-B523-3283D5A36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940A4E2-5AC0-4C0C-924B-82C1381A8A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8150" y="2710333"/>
            <a:ext cx="1690700" cy="142876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4159F993-0F2B-47D2-88C5-034005CC29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5249" y="2714620"/>
            <a:ext cx="1690699" cy="1420186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9FDB0072-069A-4BBD-8EC6-518D9540EE48}"/>
              </a:ext>
            </a:extLst>
          </p:cNvPr>
          <p:cNvSpPr txBox="1"/>
          <p:nvPr/>
        </p:nvSpPr>
        <p:spPr>
          <a:xfrm>
            <a:off x="1648357" y="2012950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Positive sample</a:t>
            </a:r>
            <a:endParaRPr lang="zh-CN" altLang="en-US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050EAC79-7FA7-45E7-8B0B-A3192E20AF57}"/>
              </a:ext>
            </a:extLst>
          </p:cNvPr>
          <p:cNvSpPr txBox="1"/>
          <p:nvPr/>
        </p:nvSpPr>
        <p:spPr>
          <a:xfrm>
            <a:off x="7710351" y="2012950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Positive sample</a:t>
            </a:r>
            <a:endParaRPr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BB5AA3ED-2809-4F5B-9F94-419A15994B89}"/>
              </a:ext>
            </a:extLst>
          </p:cNvPr>
          <p:cNvSpPr/>
          <p:nvPr/>
        </p:nvSpPr>
        <p:spPr>
          <a:xfrm>
            <a:off x="6324600" y="4794253"/>
            <a:ext cx="1746250" cy="127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nput Image</a:t>
            </a:r>
            <a:endParaRPr lang="zh-CN" altLang="en-US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FB8B93AC-A2DA-447E-9D8F-BF99F1B97245}"/>
              </a:ext>
            </a:extLst>
          </p:cNvPr>
          <p:cNvSpPr txBox="1"/>
          <p:nvPr/>
        </p:nvSpPr>
        <p:spPr>
          <a:xfrm>
            <a:off x="2298700" y="5060950"/>
            <a:ext cx="619111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/>
              <a:t>CLASS = CLASSIFIER(                     )</a:t>
            </a:r>
            <a:endParaRPr lang="zh-CN" altLang="en-US" sz="2800" dirty="0"/>
          </a:p>
        </p:txBody>
      </p:sp>
    </p:spTree>
    <p:extLst>
      <p:ext uri="{BB962C8B-B14F-4D97-AF65-F5344CB8AC3E}">
        <p14:creationId xmlns:p14="http://schemas.microsoft.com/office/powerpoint/2010/main" val="12190445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8D6D54A-A4B0-43BE-8442-4778D8D766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emplate Based Method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419CCEA-4992-4553-B8E5-DF471F52E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40EF9869-746C-4BEB-8470-BD3144974BBF}"/>
              </a:ext>
            </a:extLst>
          </p:cNvPr>
          <p:cNvSpPr/>
          <p:nvPr/>
        </p:nvSpPr>
        <p:spPr>
          <a:xfrm>
            <a:off x="2603500" y="1736725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185E270A-F515-4ED6-A61A-AE4AAD38E90A}"/>
              </a:ext>
            </a:extLst>
          </p:cNvPr>
          <p:cNvSpPr/>
          <p:nvPr/>
        </p:nvSpPr>
        <p:spPr>
          <a:xfrm>
            <a:off x="2755900" y="1889125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B7A8D63D-964F-4920-B3DA-2DDA4E01DE1E}"/>
              </a:ext>
            </a:extLst>
          </p:cNvPr>
          <p:cNvSpPr/>
          <p:nvPr/>
        </p:nvSpPr>
        <p:spPr>
          <a:xfrm>
            <a:off x="2908300" y="2041525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3B628859-9262-4DAF-9D1B-44FFD58A07B7}"/>
              </a:ext>
            </a:extLst>
          </p:cNvPr>
          <p:cNvSpPr/>
          <p:nvPr/>
        </p:nvSpPr>
        <p:spPr>
          <a:xfrm>
            <a:off x="3060700" y="2193925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4CA4A09C-1BB1-46FE-87FE-D47743322DAF}"/>
              </a:ext>
            </a:extLst>
          </p:cNvPr>
          <p:cNvSpPr/>
          <p:nvPr/>
        </p:nvSpPr>
        <p:spPr>
          <a:xfrm>
            <a:off x="3213100" y="2346325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9A6E9E68-7ED7-40DF-A941-C6F1A7841012}"/>
              </a:ext>
            </a:extLst>
          </p:cNvPr>
          <p:cNvSpPr/>
          <p:nvPr/>
        </p:nvSpPr>
        <p:spPr>
          <a:xfrm>
            <a:off x="2603500" y="4616450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8D94F4E9-C67C-4EEE-B2D5-214A9FABD7EC}"/>
              </a:ext>
            </a:extLst>
          </p:cNvPr>
          <p:cNvSpPr/>
          <p:nvPr/>
        </p:nvSpPr>
        <p:spPr>
          <a:xfrm>
            <a:off x="2755900" y="4768850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9DDC5523-F19E-41FA-BB50-39CEC6BD09D5}"/>
              </a:ext>
            </a:extLst>
          </p:cNvPr>
          <p:cNvSpPr/>
          <p:nvPr/>
        </p:nvSpPr>
        <p:spPr>
          <a:xfrm>
            <a:off x="2908300" y="4921250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8369FE4C-FFC4-4E47-9D00-5A7404F0E6C7}"/>
              </a:ext>
            </a:extLst>
          </p:cNvPr>
          <p:cNvSpPr/>
          <p:nvPr/>
        </p:nvSpPr>
        <p:spPr>
          <a:xfrm>
            <a:off x="3060700" y="5073650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AD22F82-3063-4B47-AD1A-625B22BF8422}"/>
              </a:ext>
            </a:extLst>
          </p:cNvPr>
          <p:cNvSpPr/>
          <p:nvPr/>
        </p:nvSpPr>
        <p:spPr>
          <a:xfrm>
            <a:off x="3213100" y="5226050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68983372-558A-4E8C-864D-53161CCE5739}"/>
              </a:ext>
            </a:extLst>
          </p:cNvPr>
          <p:cNvSpPr txBox="1"/>
          <p:nvPr/>
        </p:nvSpPr>
        <p:spPr>
          <a:xfrm>
            <a:off x="381000" y="2101850"/>
            <a:ext cx="2056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Positive templates</a:t>
            </a:r>
            <a:endParaRPr lang="zh-CN" altLang="en-US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B80A4D8C-34D3-469F-8534-98411F891F12}"/>
              </a:ext>
            </a:extLst>
          </p:cNvPr>
          <p:cNvSpPr txBox="1"/>
          <p:nvPr/>
        </p:nvSpPr>
        <p:spPr>
          <a:xfrm>
            <a:off x="416925" y="4936609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Negtive</a:t>
            </a:r>
            <a:r>
              <a:rPr lang="en-US" altLang="zh-CN" dirty="0"/>
              <a:t> templates</a:t>
            </a:r>
            <a:endParaRPr lang="zh-CN" altLang="en-US" dirty="0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853F3D74-0657-4488-88EB-640653B1F860}"/>
              </a:ext>
            </a:extLst>
          </p:cNvPr>
          <p:cNvSpPr/>
          <p:nvPr/>
        </p:nvSpPr>
        <p:spPr>
          <a:xfrm>
            <a:off x="10147302" y="3213100"/>
            <a:ext cx="1581148" cy="127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nput Image</a:t>
            </a:r>
            <a:endParaRPr lang="zh-CN" altLang="en-US" dirty="0"/>
          </a:p>
        </p:txBody>
      </p: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A5282DC7-B52A-4012-9FC5-A3EBC956D2D4}"/>
              </a:ext>
            </a:extLst>
          </p:cNvPr>
          <p:cNvCxnSpPr/>
          <p:nvPr/>
        </p:nvCxnSpPr>
        <p:spPr>
          <a:xfrm flipH="1">
            <a:off x="4724400" y="3848100"/>
            <a:ext cx="3886199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0" name="文本框 19">
            <a:extLst>
              <a:ext uri="{FF2B5EF4-FFF2-40B4-BE49-F238E27FC236}">
                <a16:creationId xmlns:a16="http://schemas.microsoft.com/office/drawing/2014/main" id="{89AD4F9F-A9D9-47E7-95B3-9039072C8FF3}"/>
              </a:ext>
            </a:extLst>
          </p:cNvPr>
          <p:cNvSpPr txBox="1"/>
          <p:nvPr/>
        </p:nvSpPr>
        <p:spPr>
          <a:xfrm>
            <a:off x="3987800" y="4019550"/>
            <a:ext cx="58528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Use some compare function to find out best-match one.</a:t>
            </a:r>
          </a:p>
          <a:p>
            <a:r>
              <a:rPr lang="en-US" altLang="zh-CN" dirty="0"/>
              <a:t>(Kind like KNN which K = 1)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306150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EBC3B9A-3CAB-406C-8AB6-DDB49DDB67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rite a classifier class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0B9D768-4282-440C-A6A7-D4407793A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DB859B6-1D31-4B72-AD98-37A1A2C96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1B58B66-FFF6-404F-B022-BC71F80EDF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9767" y="1169960"/>
            <a:ext cx="8270876" cy="5070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261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>
            <a:extLst>
              <a:ext uri="{FF2B5EF4-FFF2-40B4-BE49-F238E27FC236}">
                <a16:creationId xmlns:a16="http://schemas.microsoft.com/office/drawing/2014/main" id="{9C45CBB3-EF29-4550-991A-04A7C555FDA4}"/>
              </a:ext>
            </a:extLst>
          </p:cNvPr>
          <p:cNvSpPr/>
          <p:nvPr/>
        </p:nvSpPr>
        <p:spPr>
          <a:xfrm>
            <a:off x="3048000" y="1104900"/>
            <a:ext cx="8807450" cy="5035542"/>
          </a:xfrm>
          <a:prstGeom prst="rect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237DEF19-9FDD-4779-B4AB-B35B39A45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orward process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BC67E80-CF32-46C7-8843-01CFEF0D91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C8A4393-8964-4F7D-B654-8027964F1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4BCC4903-9169-4782-992A-E67CB915F038}"/>
              </a:ext>
            </a:extLst>
          </p:cNvPr>
          <p:cNvSpPr/>
          <p:nvPr/>
        </p:nvSpPr>
        <p:spPr>
          <a:xfrm>
            <a:off x="831852" y="2999581"/>
            <a:ext cx="1581148" cy="127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nput Image</a:t>
            </a:r>
          </a:p>
          <a:p>
            <a:pPr algn="ctr"/>
            <a:r>
              <a:rPr lang="en-US" altLang="zh-CN" dirty="0"/>
              <a:t>(cv::Mat)</a:t>
            </a:r>
            <a:endParaRPr lang="zh-CN" altLang="en-US" dirty="0"/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DF55AFF1-F3C5-487B-B9F7-C3DCE70CD78B}"/>
              </a:ext>
            </a:extLst>
          </p:cNvPr>
          <p:cNvSpPr/>
          <p:nvPr/>
        </p:nvSpPr>
        <p:spPr>
          <a:xfrm>
            <a:off x="4324350" y="1475581"/>
            <a:ext cx="3638550" cy="538559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 err="1"/>
              <a:t>sp</a:t>
            </a:r>
            <a:r>
              <a:rPr lang="en-US" altLang="zh-CN" sz="2400" b="1" dirty="0"/>
              <a:t>::classifier</a:t>
            </a:r>
            <a:endParaRPr lang="zh-CN" altLang="en-US" sz="2400" b="1" dirty="0"/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5B26FCD1-6728-4247-AD56-45571BF0CB4D}"/>
              </a:ext>
            </a:extLst>
          </p:cNvPr>
          <p:cNvSpPr/>
          <p:nvPr/>
        </p:nvSpPr>
        <p:spPr>
          <a:xfrm>
            <a:off x="3524250" y="2580481"/>
            <a:ext cx="5238750" cy="210820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int forward(cv::Mat mat&amp;) </a:t>
            </a:r>
          </a:p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bool </a:t>
            </a:r>
            <a:r>
              <a:rPr lang="en-US" altLang="zh-CN" b="1" dirty="0" err="1">
                <a:solidFill>
                  <a:schemeClr val="tx1"/>
                </a:solidFill>
              </a:rPr>
              <a:t>boolean_forward</a:t>
            </a:r>
            <a:r>
              <a:rPr lang="en-US" altLang="zh-CN" b="1" dirty="0">
                <a:solidFill>
                  <a:schemeClr val="tx1"/>
                </a:solidFill>
              </a:rPr>
              <a:t>(cv::Mat&amp;)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cxnSp>
        <p:nvCxnSpPr>
          <p:cNvPr id="9" name="直接箭头连接符 8">
            <a:extLst>
              <a:ext uri="{FF2B5EF4-FFF2-40B4-BE49-F238E27FC236}">
                <a16:creationId xmlns:a16="http://schemas.microsoft.com/office/drawing/2014/main" id="{CFFBEF7A-F1A1-40E3-A8F2-BCAF78FA788E}"/>
              </a:ext>
            </a:extLst>
          </p:cNvPr>
          <p:cNvCxnSpPr>
            <a:stCxn id="5" idx="3"/>
            <a:endCxn id="7" idx="1"/>
          </p:cNvCxnSpPr>
          <p:nvPr/>
        </p:nvCxnSpPr>
        <p:spPr>
          <a:xfrm>
            <a:off x="2413000" y="3634581"/>
            <a:ext cx="111125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文本框 10">
            <a:extLst>
              <a:ext uri="{FF2B5EF4-FFF2-40B4-BE49-F238E27FC236}">
                <a16:creationId xmlns:a16="http://schemas.microsoft.com/office/drawing/2014/main" id="{4E9E1FC1-6F6E-4FF6-BE58-4935C275061A}"/>
              </a:ext>
            </a:extLst>
          </p:cNvPr>
          <p:cNvSpPr txBox="1"/>
          <p:nvPr/>
        </p:nvSpPr>
        <p:spPr>
          <a:xfrm>
            <a:off x="9072322" y="3200400"/>
            <a:ext cx="20762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altLang="zh-CN" b="1" dirty="0"/>
              <a:t>Preprocessing</a:t>
            </a:r>
          </a:p>
          <a:p>
            <a:pPr marL="285750" indent="-285750">
              <a:buFontTx/>
              <a:buChar char="-"/>
            </a:pPr>
            <a:r>
              <a:rPr lang="en-US" altLang="zh-CN" b="1" dirty="0"/>
              <a:t>Compare each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26961830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285DC51-B98B-4358-A861-D13D993676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epare and thresholding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629B034-25F2-4DCC-9F7E-D9A4B93059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pic>
        <p:nvPicPr>
          <p:cNvPr id="5122" name="Picture 2" descr="https://timgsa.baidu.com/timg?image&amp;quality=80&amp;size=b9999_10000&amp;sec=1567854439852&amp;di=699c0a6b502963030628ff8e6b6e5b9e&amp;imgtype=0&amp;src=http%3A%2F%2Fwx1.sinaimg.cn%2Fwap720%2F005TFLbuly1fu2je76ucoj31120kuwji.jpg">
            <a:extLst>
              <a:ext uri="{FF2B5EF4-FFF2-40B4-BE49-F238E27FC236}">
                <a16:creationId xmlns:a16="http://schemas.microsoft.com/office/drawing/2014/main" id="{599F8A8E-F85A-4E83-880D-910CFD2635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6824" y="2097087"/>
            <a:ext cx="5359398" cy="3014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âpixel histogramâçå¾çæç´¢ç»æ">
            <a:extLst>
              <a:ext uri="{FF2B5EF4-FFF2-40B4-BE49-F238E27FC236}">
                <a16:creationId xmlns:a16="http://schemas.microsoft.com/office/drawing/2014/main" id="{4D9F7B2A-76D0-4609-B7CC-5430D79FD2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924" y="1475581"/>
            <a:ext cx="5676900" cy="425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2F9F15AB-7DDA-432C-9937-1427C4D8BA16}"/>
              </a:ext>
            </a:extLst>
          </p:cNvPr>
          <p:cNvSpPr/>
          <p:nvPr/>
        </p:nvSpPr>
        <p:spPr>
          <a:xfrm>
            <a:off x="3746500" y="2097087"/>
            <a:ext cx="1809750" cy="3402013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" name="直接箭头连接符 6">
            <a:extLst>
              <a:ext uri="{FF2B5EF4-FFF2-40B4-BE49-F238E27FC236}">
                <a16:creationId xmlns:a16="http://schemas.microsoft.com/office/drawing/2014/main" id="{F131926C-B03D-4D1D-B3AF-F388420703C0}"/>
              </a:ext>
            </a:extLst>
          </p:cNvPr>
          <p:cNvCxnSpPr/>
          <p:nvPr/>
        </p:nvCxnSpPr>
        <p:spPr>
          <a:xfrm>
            <a:off x="5257800" y="5613400"/>
            <a:ext cx="1263650" cy="62706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文本框 7">
            <a:extLst>
              <a:ext uri="{FF2B5EF4-FFF2-40B4-BE49-F238E27FC236}">
                <a16:creationId xmlns:a16="http://schemas.microsoft.com/office/drawing/2014/main" id="{00988931-203E-4DF2-92B0-8F2E4E4ADDAD}"/>
              </a:ext>
            </a:extLst>
          </p:cNvPr>
          <p:cNvSpPr txBox="1"/>
          <p:nvPr/>
        </p:nvSpPr>
        <p:spPr>
          <a:xfrm>
            <a:off x="6819900" y="5974321"/>
            <a:ext cx="361509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Light part is what we want !</a:t>
            </a:r>
          </a:p>
          <a:p>
            <a:r>
              <a:rPr lang="en-US" altLang="zh-CN" dirty="0"/>
              <a:t>About the lightest </a:t>
            </a:r>
            <a:r>
              <a:rPr lang="en-US" altLang="zh-CN" b="1" dirty="0"/>
              <a:t>20%~30% </a:t>
            </a:r>
            <a:r>
              <a:rPr lang="en-US" altLang="zh-CN" dirty="0"/>
              <a:t>part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801609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0B6E7D7-ECF5-4598-990F-F920878643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epare and thresholding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CDF257C-35C1-4782-9416-5E82388FA2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C35270D-5CCF-4D6E-BC87-B76D10435E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2681" y="0"/>
            <a:ext cx="638563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5151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0BE84D2-C65D-44E0-9098-2A88C648F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orward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5847DE3-8E5B-4162-84F7-13F11E316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E4416B7-15D6-4747-BDC5-1250A49B5A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3310" y="0"/>
            <a:ext cx="5397380" cy="6858000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DECDE7DD-340A-4F95-95FD-F837E4954ECC}"/>
              </a:ext>
            </a:extLst>
          </p:cNvPr>
          <p:cNvSpPr/>
          <p:nvPr/>
        </p:nvSpPr>
        <p:spPr>
          <a:xfrm>
            <a:off x="2435225" y="1709737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0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38DE46DE-D71E-408A-A73F-3801EBA87CC0}"/>
              </a:ext>
            </a:extLst>
          </p:cNvPr>
          <p:cNvSpPr/>
          <p:nvPr/>
        </p:nvSpPr>
        <p:spPr>
          <a:xfrm>
            <a:off x="2435225" y="4148137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7D7F156-862C-4DFC-B614-6FA851C4412C}"/>
              </a:ext>
            </a:extLst>
          </p:cNvPr>
          <p:cNvSpPr/>
          <p:nvPr/>
        </p:nvSpPr>
        <p:spPr>
          <a:xfrm>
            <a:off x="2435225" y="2522537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191AF902-DB84-4FA4-93C2-632A4EFE2FC7}"/>
              </a:ext>
            </a:extLst>
          </p:cNvPr>
          <p:cNvSpPr/>
          <p:nvPr/>
        </p:nvSpPr>
        <p:spPr>
          <a:xfrm>
            <a:off x="2435225" y="3335337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128FEF9B-D981-45FB-81D4-38489E999964}"/>
              </a:ext>
            </a:extLst>
          </p:cNvPr>
          <p:cNvSpPr/>
          <p:nvPr/>
        </p:nvSpPr>
        <p:spPr>
          <a:xfrm>
            <a:off x="2435225" y="5018087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4</a:t>
            </a:r>
            <a:endParaRPr lang="zh-CN" altLang="en-US" dirty="0"/>
          </a:p>
        </p:txBody>
      </p:sp>
      <p:sp>
        <p:nvSpPr>
          <p:cNvPr id="12" name="左大括号 11">
            <a:extLst>
              <a:ext uri="{FF2B5EF4-FFF2-40B4-BE49-F238E27FC236}">
                <a16:creationId xmlns:a16="http://schemas.microsoft.com/office/drawing/2014/main" id="{9FC50CF1-1967-4353-8253-07475BF9215A}"/>
              </a:ext>
            </a:extLst>
          </p:cNvPr>
          <p:cNvSpPr/>
          <p:nvPr/>
        </p:nvSpPr>
        <p:spPr>
          <a:xfrm>
            <a:off x="2149475" y="1933575"/>
            <a:ext cx="45719" cy="2063750"/>
          </a:xfrm>
          <a:prstGeom prst="leftBrac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左大括号 12">
            <a:extLst>
              <a:ext uri="{FF2B5EF4-FFF2-40B4-BE49-F238E27FC236}">
                <a16:creationId xmlns:a16="http://schemas.microsoft.com/office/drawing/2014/main" id="{7F50BC80-39B4-4723-B392-823E1A4DCA36}"/>
              </a:ext>
            </a:extLst>
          </p:cNvPr>
          <p:cNvSpPr/>
          <p:nvPr/>
        </p:nvSpPr>
        <p:spPr>
          <a:xfrm>
            <a:off x="2126615" y="4327528"/>
            <a:ext cx="45719" cy="1451766"/>
          </a:xfrm>
          <a:prstGeom prst="leftBrac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A9DC410-7595-411D-BD90-E9E57BCBD30F}"/>
              </a:ext>
            </a:extLst>
          </p:cNvPr>
          <p:cNvSpPr txBox="1"/>
          <p:nvPr/>
        </p:nvSpPr>
        <p:spPr>
          <a:xfrm>
            <a:off x="395288" y="2867025"/>
            <a:ext cx="1043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Good …</a:t>
            </a:r>
            <a:endParaRPr lang="zh-CN" altLang="en-US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B57259D6-0434-4DEA-B9AC-2D731C597C2D}"/>
              </a:ext>
            </a:extLst>
          </p:cNvPr>
          <p:cNvSpPr txBox="1"/>
          <p:nvPr/>
        </p:nvSpPr>
        <p:spPr>
          <a:xfrm>
            <a:off x="460945" y="4833421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Bad …</a:t>
            </a:r>
            <a:endParaRPr lang="zh-CN" altLang="en-US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72E8ADAE-302A-4EB8-88B7-132E17DF8309}"/>
              </a:ext>
            </a:extLst>
          </p:cNvPr>
          <p:cNvSpPr txBox="1"/>
          <p:nvPr/>
        </p:nvSpPr>
        <p:spPr>
          <a:xfrm>
            <a:off x="4143375" y="3458647"/>
            <a:ext cx="1197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err="1"/>
              <a:t>match_id</a:t>
            </a:r>
            <a:endParaRPr lang="zh-CN" altLang="en-US" b="1" dirty="0"/>
          </a:p>
        </p:txBody>
      </p: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29DE3B0C-E46D-47CA-949B-C2A45148A8F8}"/>
              </a:ext>
            </a:extLst>
          </p:cNvPr>
          <p:cNvCxnSpPr/>
          <p:nvPr/>
        </p:nvCxnSpPr>
        <p:spPr>
          <a:xfrm>
            <a:off x="266640" y="4419600"/>
            <a:ext cx="5038785" cy="0"/>
          </a:xfrm>
          <a:prstGeom prst="line">
            <a:avLst/>
          </a:prstGeom>
          <a:ln w="9525" cap="flat" cmpd="sng" algn="ctr">
            <a:solidFill>
              <a:srgbClr val="42BDE9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65559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190AE2-DECD-40C6-AD64-8C63A5CEA7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mpare input with templat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B7A8744-1CE5-472D-8BC4-A2DC84E5B9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19A9F31-41E7-4D1E-AA58-42A92EF09A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5934" y="250008"/>
            <a:ext cx="5996031" cy="635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18611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58019E78-A12E-4BA3-9E2F-71D2A05D79F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zh-CN" altLang="en-US"/>
          </a:p>
        </p:txBody>
      </p:sp>
      <p:sp>
        <p:nvSpPr>
          <p:cNvPr id="21" name="标题 8">
            <a:extLst>
              <a:ext uri="{FF2B5EF4-FFF2-40B4-BE49-F238E27FC236}">
                <a16:creationId xmlns:a16="http://schemas.microsoft.com/office/drawing/2014/main" id="{733732A8-00EB-4977-8CDD-434D9AE5CC92}"/>
              </a:ext>
            </a:extLst>
          </p:cNvPr>
          <p:cNvSpPr txBox="1">
            <a:spLocks/>
          </p:cNvSpPr>
          <p:nvPr/>
        </p:nvSpPr>
        <p:spPr>
          <a:xfrm>
            <a:off x="3256230" y="2028830"/>
            <a:ext cx="5679540" cy="117810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wrap="none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zh-CN" altLang="en-US" sz="2000" b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ASSIGNMENTS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12C0E17-1E23-4814-9E50-737201B4A8EB}"/>
              </a:ext>
            </a:extLst>
          </p:cNvPr>
          <p:cNvSpPr txBox="1"/>
          <p:nvPr/>
        </p:nvSpPr>
        <p:spPr>
          <a:xfrm>
            <a:off x="1242127" y="3528127"/>
            <a:ext cx="9827777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Dynamic template array2D class.</a:t>
            </a:r>
          </a:p>
          <a:p>
            <a:pPr marL="342900" indent="-342900">
              <a:buAutoNum type="arabicPeriod"/>
            </a:pP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Reimplementation of </a:t>
            </a:r>
            <a:r>
              <a:rPr lang="en-US" altLang="zh-CN" sz="2000" b="1" u="sng" dirty="0" err="1">
                <a:solidFill>
                  <a:srgbClr val="FFC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</a:t>
            </a:r>
            <a:r>
              <a:rPr lang="en-US" altLang="zh-CN" sz="2000" b="1" u="sng" dirty="0">
                <a:solidFill>
                  <a:srgbClr val="FFC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classifier</a:t>
            </a: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</a:p>
          <a:p>
            <a:pPr marL="342900" indent="-342900">
              <a:buAutoNum type="arabicPeriod"/>
            </a:pPr>
            <a:r>
              <a:rPr lang="en-US" altLang="zh-CN" sz="2000" dirty="0">
                <a:solidFill>
                  <a:schemeClr val="accent5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un </a:t>
            </a:r>
            <a:r>
              <a:rPr lang="en-US" altLang="zh-CN" sz="2000" b="1" u="sng" dirty="0" err="1">
                <a:solidFill>
                  <a:srgbClr val="FFC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</a:t>
            </a:r>
            <a:r>
              <a:rPr lang="en-US" altLang="zh-CN" sz="2000" b="1" u="sng" dirty="0">
                <a:solidFill>
                  <a:srgbClr val="FFC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classifier</a:t>
            </a:r>
            <a:r>
              <a:rPr lang="en-US" altLang="zh-CN" sz="2000" b="1" dirty="0">
                <a:solidFill>
                  <a:srgbClr val="FFC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altLang="zh-CN" sz="2000" dirty="0">
                <a:solidFill>
                  <a:schemeClr val="accent5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ing multi-threading. (optional)</a:t>
            </a:r>
          </a:p>
          <a:p>
            <a:endParaRPr lang="en-US" altLang="zh-CN" dirty="0"/>
          </a:p>
          <a:p>
            <a:pPr algn="ctr"/>
            <a:r>
              <a:rPr lang="en-US" altLang="zh-CN" b="1" dirty="0"/>
              <a:t>DDL</a:t>
            </a:r>
          </a:p>
          <a:p>
            <a:pPr algn="ctr"/>
            <a:r>
              <a:rPr lang="en-US" altLang="zh-CN" sz="8000" dirty="0">
                <a:latin typeface="Cambria Math" panose="02040503050406030204" pitchFamily="18" charset="0"/>
                <a:ea typeface="Cambria Math" panose="02040503050406030204" pitchFamily="18" charset="0"/>
              </a:rPr>
              <a:t>2019/9/17</a:t>
            </a:r>
            <a:endParaRPr lang="zh-CN" altLang="en-US" sz="8000" dirty="0">
              <a:latin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67950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58019E78-A12E-4BA3-9E2F-71D2A05D79F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CC4B4A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标题 8">
            <a:extLst>
              <a:ext uri="{FF2B5EF4-FFF2-40B4-BE49-F238E27FC236}">
                <a16:creationId xmlns:a16="http://schemas.microsoft.com/office/drawing/2014/main" id="{733732A8-00EB-4977-8CDD-434D9AE5CC92}"/>
              </a:ext>
            </a:extLst>
          </p:cNvPr>
          <p:cNvSpPr txBox="1">
            <a:spLocks/>
          </p:cNvSpPr>
          <p:nvPr/>
        </p:nvSpPr>
        <p:spPr>
          <a:xfrm>
            <a:off x="3256230" y="2028830"/>
            <a:ext cx="5679540" cy="117810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wrap="none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zh-CN" altLang="en-US" sz="2000" b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4000" b="1" dirty="0">
                <a:solidFill>
                  <a:srgbClr val="FFFFFF"/>
                </a:solidFill>
                <a:latin typeface="Consolas" panose="020B0609020204030204" pitchFamily="49" charset="0"/>
              </a:rPr>
              <a:t>s</a:t>
            </a: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td::</a:t>
            </a:r>
            <a:r>
              <a:rPr kumimoji="0" lang="en-US" alt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quick_exit</a:t>
            </a: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(0);</a:t>
            </a:r>
          </a:p>
        </p:txBody>
      </p:sp>
    </p:spTree>
    <p:extLst>
      <p:ext uri="{BB962C8B-B14F-4D97-AF65-F5344CB8AC3E}">
        <p14:creationId xmlns:p14="http://schemas.microsoft.com/office/powerpoint/2010/main" val="33947757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99A836F-72DF-4F95-B8BA-4D6E18AD90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718" y="-30209"/>
            <a:ext cx="10850563" cy="1028699"/>
          </a:xfrm>
        </p:spPr>
        <p:txBody>
          <a:bodyPr/>
          <a:lstStyle/>
          <a:p>
            <a:r>
              <a:rPr lang="en-US" altLang="zh-CN" dirty="0"/>
              <a:t>OpenCV IO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9210F58-61D4-47DD-BB9F-79B1CB3F53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B64C72D0-5BD8-4C69-B52F-3471FDEED8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2103" y="1741334"/>
            <a:ext cx="8953565" cy="3610001"/>
          </a:xfrm>
          <a:prstGeom prst="rect">
            <a:avLst/>
          </a:prstGeom>
        </p:spPr>
      </p:pic>
      <p:sp>
        <p:nvSpPr>
          <p:cNvPr id="25" name="矩形 24">
            <a:extLst>
              <a:ext uri="{FF2B5EF4-FFF2-40B4-BE49-F238E27FC236}">
                <a16:creationId xmlns:a16="http://schemas.microsoft.com/office/drawing/2014/main" id="{D58E63CC-1721-4781-A68A-9A19FC6E02BB}"/>
              </a:ext>
            </a:extLst>
          </p:cNvPr>
          <p:cNvSpPr/>
          <p:nvPr/>
        </p:nvSpPr>
        <p:spPr>
          <a:xfrm>
            <a:off x="2453234" y="5764562"/>
            <a:ext cx="849528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3"/>
              </a:rPr>
              <a:t>https://www.ccoderun.ca/programming/doxygen/opencv/classcv_1_1Mat.html</a:t>
            </a:r>
            <a:endParaRPr lang="zh-CN" altLang="en-US" dirty="0"/>
          </a:p>
        </p:txBody>
      </p:sp>
      <p:cxnSp>
        <p:nvCxnSpPr>
          <p:cNvPr id="27" name="直接箭头连接符 26">
            <a:extLst>
              <a:ext uri="{FF2B5EF4-FFF2-40B4-BE49-F238E27FC236}">
                <a16:creationId xmlns:a16="http://schemas.microsoft.com/office/drawing/2014/main" id="{34CDD709-440B-4A2B-9FA7-F5CF80B59373}"/>
              </a:ext>
            </a:extLst>
          </p:cNvPr>
          <p:cNvCxnSpPr/>
          <p:nvPr/>
        </p:nvCxnSpPr>
        <p:spPr>
          <a:xfrm flipV="1">
            <a:off x="5247685" y="2484255"/>
            <a:ext cx="1638637" cy="131495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文本框 27">
            <a:extLst>
              <a:ext uri="{FF2B5EF4-FFF2-40B4-BE49-F238E27FC236}">
                <a16:creationId xmlns:a16="http://schemas.microsoft.com/office/drawing/2014/main" id="{57C867FD-6445-4ED0-9AD3-A2EEDA3A4225}"/>
              </a:ext>
            </a:extLst>
          </p:cNvPr>
          <p:cNvSpPr txBox="1"/>
          <p:nvPr/>
        </p:nvSpPr>
        <p:spPr>
          <a:xfrm>
            <a:off x="7189773" y="2168665"/>
            <a:ext cx="324960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92D050"/>
                </a:solidFill>
              </a:rPr>
              <a:t>Read in 3-channel by  default.</a:t>
            </a:r>
          </a:p>
          <a:p>
            <a:endParaRPr lang="en-US" altLang="zh-CN" dirty="0">
              <a:solidFill>
                <a:srgbClr val="92D050"/>
              </a:solidFill>
            </a:endParaRPr>
          </a:p>
          <a:p>
            <a:r>
              <a:rPr lang="en-US" altLang="zh-CN" dirty="0">
                <a:solidFill>
                  <a:srgbClr val="92D050"/>
                </a:solidFill>
              </a:rPr>
              <a:t>In 1-channel and </a:t>
            </a:r>
            <a:r>
              <a:rPr lang="en-US" altLang="zh-CN" dirty="0" err="1">
                <a:solidFill>
                  <a:srgbClr val="92D050"/>
                </a:solidFill>
              </a:rPr>
              <a:t>cvt</a:t>
            </a:r>
            <a:r>
              <a:rPr lang="en-US" altLang="zh-CN" dirty="0">
                <a:solidFill>
                  <a:srgbClr val="92D050"/>
                </a:solidFill>
              </a:rPr>
              <a:t> it to gray.</a:t>
            </a:r>
          </a:p>
        </p:txBody>
      </p:sp>
      <p:cxnSp>
        <p:nvCxnSpPr>
          <p:cNvPr id="29" name="直接箭头连接符 28">
            <a:extLst>
              <a:ext uri="{FF2B5EF4-FFF2-40B4-BE49-F238E27FC236}">
                <a16:creationId xmlns:a16="http://schemas.microsoft.com/office/drawing/2014/main" id="{12265F9C-D8C6-4048-9269-BED8408DC1A5}"/>
              </a:ext>
            </a:extLst>
          </p:cNvPr>
          <p:cNvCxnSpPr>
            <a:cxnSpLocks/>
          </p:cNvCxnSpPr>
          <p:nvPr/>
        </p:nvCxnSpPr>
        <p:spPr>
          <a:xfrm flipV="1">
            <a:off x="5512699" y="2856488"/>
            <a:ext cx="1373623" cy="109684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矩形 30">
            <a:extLst>
              <a:ext uri="{FF2B5EF4-FFF2-40B4-BE49-F238E27FC236}">
                <a16:creationId xmlns:a16="http://schemas.microsoft.com/office/drawing/2014/main" id="{A9FE0CA2-E40B-4D3E-9931-88B0B4833FDC}"/>
              </a:ext>
            </a:extLst>
          </p:cNvPr>
          <p:cNvSpPr/>
          <p:nvPr/>
        </p:nvSpPr>
        <p:spPr>
          <a:xfrm>
            <a:off x="5247685" y="3905780"/>
            <a:ext cx="1703373" cy="237342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2" name="直接箭头连接符 31">
            <a:extLst>
              <a:ext uri="{FF2B5EF4-FFF2-40B4-BE49-F238E27FC236}">
                <a16:creationId xmlns:a16="http://schemas.microsoft.com/office/drawing/2014/main" id="{9564B514-923B-4740-B65A-5999B886EFB1}"/>
              </a:ext>
            </a:extLst>
          </p:cNvPr>
          <p:cNvCxnSpPr>
            <a:cxnSpLocks/>
          </p:cNvCxnSpPr>
          <p:nvPr/>
        </p:nvCxnSpPr>
        <p:spPr>
          <a:xfrm flipH="1" flipV="1">
            <a:off x="1395876" y="2253632"/>
            <a:ext cx="1112655" cy="161475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6" name="文本框 35">
            <a:extLst>
              <a:ext uri="{FF2B5EF4-FFF2-40B4-BE49-F238E27FC236}">
                <a16:creationId xmlns:a16="http://schemas.microsoft.com/office/drawing/2014/main" id="{834DC61C-3467-4585-8CF4-DC60247EDB5A}"/>
              </a:ext>
            </a:extLst>
          </p:cNvPr>
          <p:cNvSpPr txBox="1"/>
          <p:nvPr/>
        </p:nvSpPr>
        <p:spPr>
          <a:xfrm>
            <a:off x="589695" y="1884300"/>
            <a:ext cx="14132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00B050"/>
                </a:solidFill>
              </a:rPr>
              <a:t>cv::Mat</a:t>
            </a:r>
            <a:endParaRPr lang="zh-CN" altLang="en-US" dirty="0">
              <a:solidFill>
                <a:srgbClr val="00B050"/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564B4B58-02C2-4982-8A91-DB7575E3409A}"/>
              </a:ext>
            </a:extLst>
          </p:cNvPr>
          <p:cNvSpPr/>
          <p:nvPr/>
        </p:nvSpPr>
        <p:spPr>
          <a:xfrm>
            <a:off x="2596207" y="3746638"/>
            <a:ext cx="806493" cy="418254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50585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31" grpId="0" animBg="1"/>
      <p:bldP spid="36" grpId="0"/>
      <p:bldP spid="3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D6B3F4D-672C-47C4-A589-3D349FA106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v::Mat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FF30CB4-35E5-4796-ADA0-CDFA654DE0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CC9EFFC4-A9A6-4EC4-82EC-35C08A4B7F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111590"/>
              </p:ext>
            </p:extLst>
          </p:nvPr>
        </p:nvGraphicFramePr>
        <p:xfrm>
          <a:off x="5703211" y="1409541"/>
          <a:ext cx="5817276" cy="4450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4773">
                  <a:extLst>
                    <a:ext uri="{9D8B030D-6E8A-4147-A177-3AD203B41FA5}">
                      <a16:colId xmlns:a16="http://schemas.microsoft.com/office/drawing/2014/main" val="2948673253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705075954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3681241240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2056340224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680655634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538408941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371645996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038307763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683982335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246178916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2151179042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27784821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9108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6012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6169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379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499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78254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46336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76430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7247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53938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22026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7622463"/>
                  </a:ext>
                </a:extLst>
              </a:tr>
            </a:tbl>
          </a:graphicData>
        </a:graphic>
      </p:graphicFrame>
      <p:sp>
        <p:nvSpPr>
          <p:cNvPr id="8" name="文本框 7">
            <a:extLst>
              <a:ext uri="{FF2B5EF4-FFF2-40B4-BE49-F238E27FC236}">
                <a16:creationId xmlns:a16="http://schemas.microsoft.com/office/drawing/2014/main" id="{B26E17DA-E27A-4161-A4CF-C75F07117287}"/>
              </a:ext>
            </a:extLst>
          </p:cNvPr>
          <p:cNvSpPr txBox="1"/>
          <p:nvPr/>
        </p:nvSpPr>
        <p:spPr>
          <a:xfrm>
            <a:off x="699960" y="1271976"/>
            <a:ext cx="4802623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i="1" dirty="0"/>
              <a:t>For image processing</a:t>
            </a:r>
            <a:r>
              <a:rPr lang="en-US" altLang="zh-CN" dirty="0"/>
              <a:t>: </a:t>
            </a:r>
            <a:r>
              <a:rPr lang="en-US" altLang="zh-CN" b="1" dirty="0"/>
              <a:t>BGR  </a:t>
            </a:r>
            <a:r>
              <a:rPr lang="en-US" altLang="zh-CN" dirty="0"/>
              <a:t>not RG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(N)WHC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N</a:t>
            </a:r>
            <a:r>
              <a:rPr lang="en-US" altLang="zh-CN" dirty="0"/>
              <a:t> =&gt; N imag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W</a:t>
            </a:r>
            <a:r>
              <a:rPr lang="en-US" altLang="zh-CN" dirty="0"/>
              <a:t> =&gt; Width ~ Colum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H </a:t>
            </a:r>
            <a:r>
              <a:rPr lang="en-US" altLang="zh-CN" dirty="0"/>
              <a:t>=&gt; Height ~ Row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C</a:t>
            </a:r>
            <a:r>
              <a:rPr lang="en-US" altLang="zh-CN" dirty="0"/>
              <a:t> =&gt; Channel (</a:t>
            </a:r>
            <a:r>
              <a:rPr lang="en-US" altLang="zh-CN" dirty="0" err="1"/>
              <a:t>i.g</a:t>
            </a:r>
            <a:r>
              <a:rPr lang="en-US" altLang="zh-CN" dirty="0"/>
              <a:t>. BGR ~ 3 channe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CPU iteration</a:t>
            </a:r>
            <a:r>
              <a:rPr lang="en-US" altLang="zh-CN" dirty="0"/>
              <a:t>: by rows(fast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b="1" u="sng" dirty="0"/>
              <a:t>Continuous by ro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Everything is reference. </a:t>
            </a:r>
            <a:r>
              <a:rPr lang="en-US" altLang="zh-CN" dirty="0"/>
              <a:t>Want a copy? Call </a:t>
            </a:r>
            <a:r>
              <a:rPr lang="en-US" altLang="zh-CN" b="1" i="1" dirty="0"/>
              <a:t>cv::Mat::clone()</a:t>
            </a:r>
            <a:r>
              <a:rPr lang="en-US" altLang="zh-CN" i="1" dirty="0"/>
              <a:t>. </a:t>
            </a:r>
            <a:r>
              <a:rPr lang="en-US" altLang="zh-CN" dirty="0"/>
              <a:t>But I suggest that </a:t>
            </a:r>
            <a:r>
              <a:rPr lang="en-US" altLang="zh-CN" dirty="0" err="1"/>
              <a:t>u’d</a:t>
            </a:r>
            <a:r>
              <a:rPr lang="en-US" altLang="zh-CN" dirty="0"/>
              <a:t> better use reference assignment for readability and performance(cv::Mat uses a ref counting technology).</a:t>
            </a:r>
            <a:endParaRPr lang="en-US" altLang="zh-CN" b="1" dirty="0"/>
          </a:p>
        </p:txBody>
      </p: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CCF1AB83-34AF-4480-B7FD-5BFA573C8C89}"/>
              </a:ext>
            </a:extLst>
          </p:cNvPr>
          <p:cNvCxnSpPr/>
          <p:nvPr/>
        </p:nvCxnSpPr>
        <p:spPr>
          <a:xfrm flipV="1">
            <a:off x="5911232" y="1586039"/>
            <a:ext cx="5336697" cy="2832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C1982636-3A07-4767-9916-F62613669962}"/>
              </a:ext>
            </a:extLst>
          </p:cNvPr>
          <p:cNvCxnSpPr/>
          <p:nvPr/>
        </p:nvCxnSpPr>
        <p:spPr>
          <a:xfrm flipV="1">
            <a:off x="5942250" y="1928602"/>
            <a:ext cx="5336697" cy="2832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60556217-F351-4891-8C2B-A4F6ACC70798}"/>
              </a:ext>
            </a:extLst>
          </p:cNvPr>
          <p:cNvCxnSpPr/>
          <p:nvPr/>
        </p:nvCxnSpPr>
        <p:spPr>
          <a:xfrm flipV="1">
            <a:off x="5942250" y="2309443"/>
            <a:ext cx="5336697" cy="2832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3" name="矩形 12">
            <a:extLst>
              <a:ext uri="{FF2B5EF4-FFF2-40B4-BE49-F238E27FC236}">
                <a16:creationId xmlns:a16="http://schemas.microsoft.com/office/drawing/2014/main" id="{9F19443F-506E-49A2-9CD9-1527B0825CA3}"/>
              </a:ext>
            </a:extLst>
          </p:cNvPr>
          <p:cNvSpPr/>
          <p:nvPr/>
        </p:nvSpPr>
        <p:spPr>
          <a:xfrm>
            <a:off x="669924" y="6290985"/>
            <a:ext cx="61178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hlinkClick r:id="rId2"/>
              </a:rPr>
              <a:t>https://docs.opencv.org/3.1.0/d3/d63/classcv_1_1Mat.htm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548545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52ACF54-ED63-46F5-9B09-1D5A8C7C6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v::Mat Iteratio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4C06356-E076-451E-9D52-67E68AF89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5" name="Picture 2" descr="_images / continuous_discontinuous.png">
            <a:extLst>
              <a:ext uri="{FF2B5EF4-FFF2-40B4-BE49-F238E27FC236}">
                <a16:creationId xmlns:a16="http://schemas.microsoft.com/office/drawing/2014/main" id="{D53FEAAD-D065-4594-A98C-F2B5DD722B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003" y="1419891"/>
            <a:ext cx="4140200" cy="3763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1A274756-9F42-4EF3-8A46-57B9E7859DF2}"/>
              </a:ext>
            </a:extLst>
          </p:cNvPr>
          <p:cNvSpPr/>
          <p:nvPr/>
        </p:nvSpPr>
        <p:spPr>
          <a:xfrm>
            <a:off x="516284" y="6125099"/>
            <a:ext cx="46046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hlinkClick r:id="rId3"/>
              </a:rPr>
              <a:t>http://opencv.jp/cookbook/opencv_mat.html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5194755-6144-49D6-A363-EC2EB390EB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7485" y="1301047"/>
            <a:ext cx="7399899" cy="4157065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5E0DE908-8FD6-4C51-A548-FA708DE601B9}"/>
              </a:ext>
            </a:extLst>
          </p:cNvPr>
          <p:cNvSpPr txBox="1"/>
          <p:nvPr/>
        </p:nvSpPr>
        <p:spPr>
          <a:xfrm>
            <a:off x="7549869" y="1612796"/>
            <a:ext cx="4006225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>
                <a:solidFill>
                  <a:srgbClr val="FFC000"/>
                </a:solidFill>
              </a:rPr>
              <a:t>Iterate each pixels of a gray image.</a:t>
            </a:r>
          </a:p>
          <a:p>
            <a:r>
              <a:rPr lang="en-US" altLang="zh-CN" b="1" dirty="0">
                <a:solidFill>
                  <a:srgbClr val="FFC000"/>
                </a:solidFill>
              </a:rPr>
              <a:t>And apply </a:t>
            </a:r>
            <a:r>
              <a:rPr lang="en-US" altLang="zh-CN" sz="2000" b="1" dirty="0" err="1">
                <a:solidFill>
                  <a:srgbClr val="FFC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</a:t>
            </a:r>
            <a:r>
              <a:rPr lang="en-US" altLang="zh-CN" b="1" dirty="0">
                <a:solidFill>
                  <a:srgbClr val="FFC000"/>
                </a:solidFill>
              </a:rPr>
              <a:t> to them.</a:t>
            </a:r>
            <a:endParaRPr lang="zh-CN" altLang="en-US" b="1" dirty="0">
              <a:solidFill>
                <a:srgbClr val="FFC000"/>
              </a:solidFill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7FE1C77D-F694-460E-958D-F5F340783667}"/>
              </a:ext>
            </a:extLst>
          </p:cNvPr>
          <p:cNvSpPr/>
          <p:nvPr/>
        </p:nvSpPr>
        <p:spPr>
          <a:xfrm>
            <a:off x="6489812" y="4685288"/>
            <a:ext cx="4644829" cy="497660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u="sng" dirty="0">
                <a:solidFill>
                  <a:schemeClr val="tx1"/>
                </a:solidFill>
              </a:rPr>
              <a:t>What about N-channel image iteration ?</a:t>
            </a:r>
            <a:endParaRPr lang="zh-CN" altLang="en-US" b="1" u="sng" dirty="0">
              <a:solidFill>
                <a:schemeClr val="tx1"/>
              </a:solidFill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888A9AC1-14D7-49F0-80A7-38E4A79D64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7094" y="1231082"/>
            <a:ext cx="9751121" cy="4560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643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433E197-8B87-45F4-802A-40910C6E3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v::Mat is just a big chunk of memory. </a:t>
            </a:r>
            <a:br>
              <a:rPr lang="en-US" altLang="zh-CN" dirty="0"/>
            </a:br>
            <a:r>
              <a:rPr lang="en-US" altLang="zh-CN" dirty="0"/>
              <a:t>What it is depends on how U view it.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29FFBE8-8815-40F5-9BAF-E7A6EDA3B7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E14EE4F-0B45-4E83-A5C8-244F3EF87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970B52BA-0CD1-47A3-9E34-A86F508256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3463343"/>
              </p:ext>
            </p:extLst>
          </p:nvPr>
        </p:nvGraphicFramePr>
        <p:xfrm>
          <a:off x="5703211" y="1409541"/>
          <a:ext cx="5817276" cy="445008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484773">
                  <a:extLst>
                    <a:ext uri="{9D8B030D-6E8A-4147-A177-3AD203B41FA5}">
                      <a16:colId xmlns:a16="http://schemas.microsoft.com/office/drawing/2014/main" val="2948673253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705075954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3681241240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2056340224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680655634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538408941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371645996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038307763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683982335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246178916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2151179042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27784821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9108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6012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6169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379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499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78254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46336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76430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7247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53938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22026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7622463"/>
                  </a:ext>
                </a:extLst>
              </a:tr>
            </a:tbl>
          </a:graphicData>
        </a:graphic>
      </p:graphicFrame>
      <p:pic>
        <p:nvPicPr>
          <p:cNvPr id="10" name="图片 9">
            <a:extLst>
              <a:ext uri="{FF2B5EF4-FFF2-40B4-BE49-F238E27FC236}">
                <a16:creationId xmlns:a16="http://schemas.microsoft.com/office/drawing/2014/main" id="{1CF7C000-7826-47BE-923C-852794B5ED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10" r="3939"/>
          <a:stretch/>
        </p:blipFill>
        <p:spPr>
          <a:xfrm>
            <a:off x="1109378" y="1409541"/>
            <a:ext cx="3138510" cy="595317"/>
          </a:xfrm>
          <a:prstGeom prst="rect">
            <a:avLst/>
          </a:prstGeom>
        </p:spPr>
      </p:pic>
      <p:cxnSp>
        <p:nvCxnSpPr>
          <p:cNvPr id="14" name="直接箭头连接符 13">
            <a:extLst>
              <a:ext uri="{FF2B5EF4-FFF2-40B4-BE49-F238E27FC236}">
                <a16:creationId xmlns:a16="http://schemas.microsoft.com/office/drawing/2014/main" id="{B490E301-E488-486C-B385-3E88667A3487}"/>
              </a:ext>
            </a:extLst>
          </p:cNvPr>
          <p:cNvCxnSpPr>
            <a:cxnSpLocks/>
          </p:cNvCxnSpPr>
          <p:nvPr/>
        </p:nvCxnSpPr>
        <p:spPr>
          <a:xfrm>
            <a:off x="4310950" y="1591887"/>
            <a:ext cx="1329199" cy="0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pic>
        <p:nvPicPr>
          <p:cNvPr id="15" name="图片 14">
            <a:extLst>
              <a:ext uri="{FF2B5EF4-FFF2-40B4-BE49-F238E27FC236}">
                <a16:creationId xmlns:a16="http://schemas.microsoft.com/office/drawing/2014/main" id="{66966E9E-6461-47C8-84C5-0C17242E6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378" y="2157366"/>
            <a:ext cx="3138510" cy="604842"/>
          </a:xfrm>
          <a:prstGeom prst="rect">
            <a:avLst/>
          </a:prstGeom>
        </p:spPr>
      </p:pic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8D43F0E1-B693-43EE-A9A9-FB41130969A4}"/>
              </a:ext>
            </a:extLst>
          </p:cNvPr>
          <p:cNvCxnSpPr>
            <a:cxnSpLocks/>
          </p:cNvCxnSpPr>
          <p:nvPr/>
        </p:nvCxnSpPr>
        <p:spPr>
          <a:xfrm>
            <a:off x="4341377" y="2385699"/>
            <a:ext cx="1298772" cy="0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61677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281A5FE-ABFE-4E91-8F2C-702887385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penCV</a:t>
            </a:r>
            <a:r>
              <a:rPr lang="zh-CN" altLang="en-US" dirty="0"/>
              <a:t> </a:t>
            </a:r>
            <a:r>
              <a:rPr lang="en-US" altLang="zh-CN" dirty="0"/>
              <a:t>function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A3B5968-2A02-4EEB-988D-046D50232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43F2751-ABD8-41F9-A533-83A9352CD5E3}"/>
              </a:ext>
            </a:extLst>
          </p:cNvPr>
          <p:cNvSpPr txBox="1"/>
          <p:nvPr/>
        </p:nvSpPr>
        <p:spPr>
          <a:xfrm>
            <a:off x="2662277" y="3871455"/>
            <a:ext cx="107017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ome times U use a function and get a </a:t>
            </a:r>
            <a:r>
              <a:rPr lang="en-US" altLang="zh-CN" dirty="0" err="1"/>
              <a:t>mat_out</a:t>
            </a:r>
            <a:r>
              <a:rPr lang="en-US" altLang="zh-CN" dirty="0"/>
              <a:t>. </a:t>
            </a:r>
          </a:p>
          <a:p>
            <a:r>
              <a:rPr lang="en-US" altLang="zh-CN" dirty="0"/>
              <a:t>Now U may want to know how should we view this, right?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62D2DE7-7E43-43C5-AD97-A384504C08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205652"/>
            <a:ext cx="10851996" cy="236293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3A1A71A-868E-4BE0-A4A3-3FAA04CEC4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0121" y="1205652"/>
            <a:ext cx="5020138" cy="5562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771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A5133EC-F057-423A-82BE-68C98DF44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Make</a:t>
            </a:r>
            <a:r>
              <a:rPr lang="en-US" altLang="zh-CN" dirty="0"/>
              <a:t> Basi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4B1EEAD-81A7-428D-BEE5-22DA385FBF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F053B5F-02D0-44E4-9F6A-6C4C3FF144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4524" y="1136632"/>
            <a:ext cx="9228719" cy="1935054"/>
          </a:xfrm>
          <a:prstGeom prst="rect">
            <a:avLst/>
          </a:prstGeom>
        </p:spPr>
      </p:pic>
      <p:sp>
        <p:nvSpPr>
          <p:cNvPr id="6" name="矩形: 圆角 5">
            <a:extLst>
              <a:ext uri="{FF2B5EF4-FFF2-40B4-BE49-F238E27FC236}">
                <a16:creationId xmlns:a16="http://schemas.microsoft.com/office/drawing/2014/main" id="{4A53B6AE-5378-4004-816E-ECFDA70591EE}"/>
              </a:ext>
            </a:extLst>
          </p:cNvPr>
          <p:cNvSpPr/>
          <p:nvPr/>
        </p:nvSpPr>
        <p:spPr>
          <a:xfrm>
            <a:off x="1058561" y="3124856"/>
            <a:ext cx="9819503" cy="2022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his is ok if you don’t need any dependency.</a:t>
            </a:r>
          </a:p>
          <a:p>
            <a:pPr algn="ctr"/>
            <a:r>
              <a:rPr lang="en-US" altLang="zh-CN" dirty="0"/>
              <a:t>What if we want use a library?</a:t>
            </a:r>
          </a:p>
          <a:p>
            <a:pPr algn="ctr"/>
            <a:r>
              <a:rPr lang="en-US" altLang="zh-CN" dirty="0"/>
              <a:t>How to manage the libraries in a common way?</a:t>
            </a:r>
          </a:p>
          <a:p>
            <a:pPr algn="ctr"/>
            <a:r>
              <a:rPr lang="en-US" altLang="zh-CN" sz="4400" b="1" i="1" dirty="0" err="1">
                <a:solidFill>
                  <a:schemeClr val="accent3">
                    <a:lumMod val="60000"/>
                    <a:lumOff val="40000"/>
                  </a:schemeClr>
                </a:solidFill>
              </a:rPr>
              <a:t>CMake</a:t>
            </a:r>
            <a:r>
              <a:rPr lang="en-US" altLang="zh-CN" sz="4400" b="1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 is the answer!</a:t>
            </a:r>
            <a:endParaRPr lang="zh-CN" altLang="en-US" sz="4400" b="1" i="1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1CC5CC1A-795C-45FB-A555-A43F1826F951}"/>
              </a:ext>
            </a:extLst>
          </p:cNvPr>
          <p:cNvSpPr/>
          <p:nvPr/>
        </p:nvSpPr>
        <p:spPr>
          <a:xfrm>
            <a:off x="214184" y="5721368"/>
            <a:ext cx="8826844" cy="807308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bg2">
                    <a:lumMod val="10000"/>
                  </a:schemeClr>
                </a:solidFill>
              </a:rPr>
              <a:t>To understand compiling and linking:</a:t>
            </a:r>
          </a:p>
          <a:p>
            <a:pPr algn="ctr"/>
            <a:r>
              <a:rPr lang="en-US" altLang="zh-CN" sz="1400" dirty="0">
                <a:hlinkClick r:id="rId3"/>
              </a:rPr>
              <a:t>https://www.youtube.com/watch?v=SfGuIVzE_Os&amp;list=PLlrATfBNZ98dudnM48yfGUldqGD0S4FFb&amp;index=5</a:t>
            </a:r>
            <a:endParaRPr lang="zh-CN" altLang="en-US" sz="140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45CF615D-B4C2-40B0-B34A-AAF70E3EDC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28347" y="5200416"/>
            <a:ext cx="2617549" cy="1328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015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>
            <a:extLst>
              <a:ext uri="{FF2B5EF4-FFF2-40B4-BE49-F238E27FC236}">
                <a16:creationId xmlns:a16="http://schemas.microsoft.com/office/drawing/2014/main" id="{328BDAF8-43F9-4812-A877-93C5F384D3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72" y="1199650"/>
            <a:ext cx="7506664" cy="4458699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A633FD91-FCF7-4A76-BBCF-EB96A286F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228EFC2-A56B-4C6A-BC94-3605C0F122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91ECF94C-9CF6-40F4-9FFD-56CFD1634C3C}"/>
              </a:ext>
            </a:extLst>
          </p:cNvPr>
          <p:cNvSpPr/>
          <p:nvPr/>
        </p:nvSpPr>
        <p:spPr>
          <a:xfrm>
            <a:off x="513403" y="6020487"/>
            <a:ext cx="1017519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u="sng" dirty="0">
                <a:hlinkClick r:id="rId3"/>
              </a:rPr>
              <a:t>https</a:t>
            </a:r>
            <a:r>
              <a:rPr lang="en-US" altLang="zh-CN" sz="1400" dirty="0">
                <a:hlinkClick r:id="rId3"/>
              </a:rPr>
              <a:t>://github.com/ganler/superpower19classifier/blob/master/CMakeLists.txt</a:t>
            </a:r>
            <a:r>
              <a:rPr lang="en-US" altLang="zh-CN" sz="1400" dirty="0"/>
              <a:t> Source file of this example</a:t>
            </a:r>
          </a:p>
          <a:p>
            <a:r>
              <a:rPr lang="en-US" altLang="zh-CN" sz="1400" dirty="0">
                <a:hlinkClick r:id="rId4"/>
              </a:rPr>
              <a:t>https://zh.wikibooks.org/zh/CMake_%E5%85%A5%E9%96%80</a:t>
            </a:r>
            <a:r>
              <a:rPr lang="en-US" altLang="zh-CN" sz="1400" dirty="0"/>
              <a:t>                      Perfect resource to learn </a:t>
            </a:r>
            <a:r>
              <a:rPr lang="en-US" altLang="zh-CN" sz="1400" dirty="0" err="1"/>
              <a:t>Cmake</a:t>
            </a:r>
            <a:endParaRPr lang="en-US" altLang="zh-CN" sz="1400" dirty="0"/>
          </a:p>
          <a:p>
            <a:r>
              <a:rPr lang="en-US" altLang="zh-CN" sz="1400" dirty="0">
                <a:hlinkClick r:id="rId5"/>
              </a:rPr>
              <a:t>https://www.google.com/</a:t>
            </a:r>
            <a:r>
              <a:rPr lang="en-US" altLang="zh-CN" sz="1400" dirty="0"/>
              <a:t>                                                                                    </a:t>
            </a:r>
            <a:r>
              <a:rPr lang="en-US" altLang="zh-CN" sz="1400" b="1" dirty="0"/>
              <a:t>Best practice: XXX lib </a:t>
            </a:r>
            <a:r>
              <a:rPr lang="en-US" altLang="zh-CN" sz="1400" b="1" dirty="0" err="1"/>
              <a:t>CMake</a:t>
            </a:r>
            <a:endParaRPr lang="zh-CN" altLang="en-US" sz="1400" dirty="0"/>
          </a:p>
        </p:txBody>
      </p:sp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BCE7C86C-8F8E-4EE0-BEF7-EDD44794ED6F}"/>
              </a:ext>
            </a:extLst>
          </p:cNvPr>
          <p:cNvCxnSpPr/>
          <p:nvPr/>
        </p:nvCxnSpPr>
        <p:spPr>
          <a:xfrm>
            <a:off x="3969926" y="1342373"/>
            <a:ext cx="327454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文本框 8">
            <a:extLst>
              <a:ext uri="{FF2B5EF4-FFF2-40B4-BE49-F238E27FC236}">
                <a16:creationId xmlns:a16="http://schemas.microsoft.com/office/drawing/2014/main" id="{82A5FDD6-C5C4-49E3-B20F-095FE93D4B9B}"/>
              </a:ext>
            </a:extLst>
          </p:cNvPr>
          <p:cNvSpPr txBox="1"/>
          <p:nvPr/>
        </p:nvSpPr>
        <p:spPr>
          <a:xfrm>
            <a:off x="7335682" y="1157707"/>
            <a:ext cx="39292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highlight>
                  <a:srgbClr val="FFFF00"/>
                </a:highlight>
              </a:rPr>
              <a:t>Not necessary… just </a:t>
            </a:r>
            <a:r>
              <a:rPr lang="en-US" altLang="zh-CN" dirty="0" err="1">
                <a:highlight>
                  <a:srgbClr val="FFFF00"/>
                </a:highlight>
              </a:rPr>
              <a:t>cmake</a:t>
            </a:r>
            <a:r>
              <a:rPr lang="en-US" altLang="zh-CN" dirty="0">
                <a:highlight>
                  <a:srgbClr val="FFFF00"/>
                </a:highlight>
              </a:rPr>
              <a:t> version.</a:t>
            </a:r>
            <a:endParaRPr lang="zh-CN" altLang="en-US" dirty="0">
              <a:highlight>
                <a:srgbClr val="FFFF00"/>
              </a:highlight>
            </a:endParaRPr>
          </a:p>
        </p:txBody>
      </p:sp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AACC54A6-AC9B-4CA2-A34E-09BA8B81FF37}"/>
              </a:ext>
            </a:extLst>
          </p:cNvPr>
          <p:cNvCxnSpPr/>
          <p:nvPr/>
        </p:nvCxnSpPr>
        <p:spPr>
          <a:xfrm>
            <a:off x="2143897" y="1706747"/>
            <a:ext cx="327454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文本框 12">
            <a:extLst>
              <a:ext uri="{FF2B5EF4-FFF2-40B4-BE49-F238E27FC236}">
                <a16:creationId xmlns:a16="http://schemas.microsoft.com/office/drawing/2014/main" id="{EDE46095-06C8-48BD-A678-D35A6F9A5AAD}"/>
              </a:ext>
            </a:extLst>
          </p:cNvPr>
          <p:cNvSpPr txBox="1"/>
          <p:nvPr/>
        </p:nvSpPr>
        <p:spPr>
          <a:xfrm>
            <a:off x="5385187" y="1492988"/>
            <a:ext cx="57089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err="1">
                <a:highlight>
                  <a:srgbClr val="FFFF00"/>
                </a:highlight>
              </a:rPr>
              <a:t>CMake</a:t>
            </a:r>
            <a:r>
              <a:rPr lang="en-US" altLang="zh-CN" sz="1600" dirty="0">
                <a:highlight>
                  <a:srgbClr val="FFFF00"/>
                </a:highlight>
              </a:rPr>
              <a:t> project name.(Yet </a:t>
            </a:r>
            <a:r>
              <a:rPr lang="en-US" altLang="zh-CN" sz="1600" dirty="0" err="1">
                <a:highlight>
                  <a:srgbClr val="FFFF00"/>
                </a:highlight>
              </a:rPr>
              <a:t>u’re</a:t>
            </a:r>
            <a:r>
              <a:rPr lang="en-US" altLang="zh-CN" sz="1600" dirty="0">
                <a:highlight>
                  <a:srgbClr val="FFFF00"/>
                </a:highlight>
              </a:rPr>
              <a:t> using </a:t>
            </a:r>
            <a:r>
              <a:rPr lang="en-US" altLang="zh-CN" sz="1600" dirty="0" err="1">
                <a:highlight>
                  <a:srgbClr val="FFFF00"/>
                </a:highlight>
              </a:rPr>
              <a:t>CMake</a:t>
            </a:r>
            <a:r>
              <a:rPr lang="en-US" altLang="zh-CN" sz="1600" dirty="0">
                <a:highlight>
                  <a:srgbClr val="FFFF00"/>
                </a:highlight>
              </a:rPr>
              <a:t> to build projects)</a:t>
            </a:r>
            <a:endParaRPr lang="zh-CN" altLang="en-US" sz="1600" dirty="0">
              <a:highlight>
                <a:srgbClr val="FFFF00"/>
              </a:highlight>
            </a:endParaRPr>
          </a:p>
        </p:txBody>
      </p:sp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13A86FE0-1EB3-4D81-B3AD-1A669900FE0D}"/>
              </a:ext>
            </a:extLst>
          </p:cNvPr>
          <p:cNvCxnSpPr/>
          <p:nvPr/>
        </p:nvCxnSpPr>
        <p:spPr>
          <a:xfrm>
            <a:off x="2854710" y="2536634"/>
            <a:ext cx="327454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文本框 15">
            <a:extLst>
              <a:ext uri="{FF2B5EF4-FFF2-40B4-BE49-F238E27FC236}">
                <a16:creationId xmlns:a16="http://schemas.microsoft.com/office/drawing/2014/main" id="{843E5D2F-DAB9-4788-B051-7D231F8E7650}"/>
              </a:ext>
            </a:extLst>
          </p:cNvPr>
          <p:cNvSpPr txBox="1"/>
          <p:nvPr/>
        </p:nvSpPr>
        <p:spPr>
          <a:xfrm>
            <a:off x="6096000" y="2322875"/>
            <a:ext cx="53158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highlight>
                  <a:srgbClr val="FFFF00"/>
                </a:highlight>
              </a:rPr>
              <a:t>Compilation options for the compiler the </a:t>
            </a:r>
            <a:r>
              <a:rPr lang="en-US" altLang="zh-CN" sz="1600" dirty="0" err="1">
                <a:highlight>
                  <a:srgbClr val="FFFF00"/>
                </a:highlight>
              </a:rPr>
              <a:t>CMake</a:t>
            </a:r>
            <a:r>
              <a:rPr lang="en-US" altLang="zh-CN" sz="1600" dirty="0">
                <a:highlight>
                  <a:srgbClr val="FFFF00"/>
                </a:highlight>
              </a:rPr>
              <a:t> is using.</a:t>
            </a:r>
            <a:endParaRPr lang="zh-CN" altLang="en-US" sz="1600" dirty="0">
              <a:highlight>
                <a:srgbClr val="FFFF00"/>
              </a:highlight>
            </a:endParaRPr>
          </a:p>
        </p:txBody>
      </p:sp>
      <p:cxnSp>
        <p:nvCxnSpPr>
          <p:cNvPr id="17" name="直接箭头连接符 16">
            <a:extLst>
              <a:ext uri="{FF2B5EF4-FFF2-40B4-BE49-F238E27FC236}">
                <a16:creationId xmlns:a16="http://schemas.microsoft.com/office/drawing/2014/main" id="{320B6D66-207D-4162-91F3-A416420E49C5}"/>
              </a:ext>
            </a:extLst>
          </p:cNvPr>
          <p:cNvCxnSpPr/>
          <p:nvPr/>
        </p:nvCxnSpPr>
        <p:spPr>
          <a:xfrm>
            <a:off x="2246495" y="3022484"/>
            <a:ext cx="327454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文本框 17">
            <a:extLst>
              <a:ext uri="{FF2B5EF4-FFF2-40B4-BE49-F238E27FC236}">
                <a16:creationId xmlns:a16="http://schemas.microsoft.com/office/drawing/2014/main" id="{591B1499-518F-4E71-B2DE-833584FF3C61}"/>
              </a:ext>
            </a:extLst>
          </p:cNvPr>
          <p:cNvSpPr txBox="1"/>
          <p:nvPr/>
        </p:nvSpPr>
        <p:spPr>
          <a:xfrm>
            <a:off x="5487785" y="2808725"/>
            <a:ext cx="64411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highlight>
                  <a:srgbClr val="FFFF00"/>
                </a:highlight>
              </a:rPr>
              <a:t>We want to compile </a:t>
            </a:r>
            <a:r>
              <a:rPr lang="en-US" altLang="zh-CN" sz="1400" b="1" dirty="0">
                <a:highlight>
                  <a:srgbClr val="FFFF00"/>
                </a:highlight>
              </a:rPr>
              <a:t>test.cpp </a:t>
            </a:r>
            <a:r>
              <a:rPr lang="en-US" altLang="zh-CN" sz="1400" dirty="0">
                <a:highlight>
                  <a:srgbClr val="FFFF00"/>
                </a:highlight>
              </a:rPr>
              <a:t>to an executable file named ${PROJECT_NAME}</a:t>
            </a:r>
          </a:p>
          <a:p>
            <a:r>
              <a:rPr lang="en-US" altLang="zh-CN" sz="1400" dirty="0">
                <a:highlight>
                  <a:srgbClr val="FFFF00"/>
                </a:highlight>
              </a:rPr>
              <a:t>${PROJECT_NAME}</a:t>
            </a:r>
            <a:r>
              <a:rPr lang="zh-CN" altLang="en-US" sz="1400" b="1" dirty="0">
                <a:highlight>
                  <a:srgbClr val="FFFF00"/>
                </a:highlight>
              </a:rPr>
              <a:t> </a:t>
            </a:r>
            <a:r>
              <a:rPr lang="en-US" altLang="zh-CN" sz="1400" b="1" dirty="0">
                <a:highlight>
                  <a:srgbClr val="FFFF00"/>
                </a:highlight>
              </a:rPr>
              <a:t>equals to </a:t>
            </a:r>
            <a:r>
              <a:rPr lang="en-US" altLang="zh-CN" sz="1400" dirty="0">
                <a:highlight>
                  <a:srgbClr val="FFFF00"/>
                </a:highlight>
              </a:rPr>
              <a:t>SP19CLASSIFIER.</a:t>
            </a:r>
          </a:p>
        </p:txBody>
      </p: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131C377C-69A7-4EF4-98F0-0F7DD44B6628}"/>
              </a:ext>
            </a:extLst>
          </p:cNvPr>
          <p:cNvCxnSpPr/>
          <p:nvPr/>
        </p:nvCxnSpPr>
        <p:spPr>
          <a:xfrm flipH="1" flipV="1">
            <a:off x="1849582" y="1669762"/>
            <a:ext cx="6679276" cy="14830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1DE44A94-26CE-4DF6-B134-22F1F09815E0}"/>
              </a:ext>
            </a:extLst>
          </p:cNvPr>
          <p:cNvCxnSpPr/>
          <p:nvPr/>
        </p:nvCxnSpPr>
        <p:spPr>
          <a:xfrm>
            <a:off x="2279746" y="3571445"/>
            <a:ext cx="327454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文本框 21">
            <a:extLst>
              <a:ext uri="{FF2B5EF4-FFF2-40B4-BE49-F238E27FC236}">
                <a16:creationId xmlns:a16="http://schemas.microsoft.com/office/drawing/2014/main" id="{B79E1A84-309D-403D-BC20-8775CF968210}"/>
              </a:ext>
            </a:extLst>
          </p:cNvPr>
          <p:cNvSpPr txBox="1"/>
          <p:nvPr/>
        </p:nvSpPr>
        <p:spPr>
          <a:xfrm>
            <a:off x="5521036" y="3357686"/>
            <a:ext cx="638001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highlight>
                  <a:srgbClr val="FFFF00"/>
                </a:highlight>
              </a:rPr>
              <a:t>Try to find a package called OpenCV (REQUIRED means this library is a must)</a:t>
            </a:r>
          </a:p>
          <a:p>
            <a:r>
              <a:rPr lang="en-US" altLang="zh-CN" sz="1400" dirty="0">
                <a:highlight>
                  <a:srgbClr val="FFFF00"/>
                </a:highlight>
              </a:rPr>
              <a:t>(For OpenCV 4+ version, use </a:t>
            </a:r>
            <a:r>
              <a:rPr lang="en-US" altLang="zh-CN" sz="1400" dirty="0" err="1">
                <a:highlight>
                  <a:srgbClr val="FFFF00"/>
                </a:highlight>
              </a:rPr>
              <a:t>find_package</a:t>
            </a:r>
            <a:r>
              <a:rPr lang="en-US" altLang="zh-CN" sz="1400" dirty="0">
                <a:highlight>
                  <a:srgbClr val="FFFF00"/>
                </a:highlight>
              </a:rPr>
              <a:t>(OpenCV 4)).</a:t>
            </a:r>
          </a:p>
        </p:txBody>
      </p:sp>
      <p:cxnSp>
        <p:nvCxnSpPr>
          <p:cNvPr id="25" name="直接箭头连接符 24">
            <a:extLst>
              <a:ext uri="{FF2B5EF4-FFF2-40B4-BE49-F238E27FC236}">
                <a16:creationId xmlns:a16="http://schemas.microsoft.com/office/drawing/2014/main" id="{2FF05B9C-2CAF-4368-8FCF-9DC2D1C23FE0}"/>
              </a:ext>
            </a:extLst>
          </p:cNvPr>
          <p:cNvCxnSpPr/>
          <p:nvPr/>
        </p:nvCxnSpPr>
        <p:spPr>
          <a:xfrm>
            <a:off x="2570694" y="5055551"/>
            <a:ext cx="327454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文本框 25">
            <a:extLst>
              <a:ext uri="{FF2B5EF4-FFF2-40B4-BE49-F238E27FC236}">
                <a16:creationId xmlns:a16="http://schemas.microsoft.com/office/drawing/2014/main" id="{72FF62D0-53C0-4262-84F5-A0E1052B6AA8}"/>
              </a:ext>
            </a:extLst>
          </p:cNvPr>
          <p:cNvSpPr txBox="1"/>
          <p:nvPr/>
        </p:nvSpPr>
        <p:spPr>
          <a:xfrm>
            <a:off x="5811984" y="4841792"/>
            <a:ext cx="58844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highlight>
                  <a:srgbClr val="FFFF00"/>
                </a:highlight>
              </a:rPr>
              <a:t>Add package-related headers(</a:t>
            </a:r>
            <a:r>
              <a:rPr lang="en-US" altLang="zh-CN" sz="1400" dirty="0" err="1">
                <a:highlight>
                  <a:srgbClr val="FFFF00"/>
                </a:highlight>
              </a:rPr>
              <a:t>i.g</a:t>
            </a:r>
            <a:r>
              <a:rPr lang="en-US" altLang="zh-CN" sz="1400" dirty="0">
                <a:highlight>
                  <a:srgbClr val="FFFF00"/>
                </a:highlight>
              </a:rPr>
              <a:t>. </a:t>
            </a:r>
            <a:r>
              <a:rPr lang="en-US" altLang="zh-CN" sz="1400" b="1" dirty="0">
                <a:highlight>
                  <a:srgbClr val="FFFF00"/>
                </a:highlight>
              </a:rPr>
              <a:t>opencv2/opencv.hpp</a:t>
            </a:r>
            <a:r>
              <a:rPr lang="en-US" altLang="zh-CN" sz="1400" dirty="0">
                <a:highlight>
                  <a:srgbClr val="FFFF00"/>
                </a:highlight>
              </a:rPr>
              <a:t> to your project)</a:t>
            </a:r>
          </a:p>
        </p:txBody>
      </p:sp>
      <p:cxnSp>
        <p:nvCxnSpPr>
          <p:cNvPr id="27" name="直接箭头连接符 26">
            <a:extLst>
              <a:ext uri="{FF2B5EF4-FFF2-40B4-BE49-F238E27FC236}">
                <a16:creationId xmlns:a16="http://schemas.microsoft.com/office/drawing/2014/main" id="{5E21A640-4C6D-4804-9997-941EB17C1073}"/>
              </a:ext>
            </a:extLst>
          </p:cNvPr>
          <p:cNvCxnSpPr/>
          <p:nvPr/>
        </p:nvCxnSpPr>
        <p:spPr>
          <a:xfrm>
            <a:off x="2775331" y="5363328"/>
            <a:ext cx="327454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文本框 27">
            <a:extLst>
              <a:ext uri="{FF2B5EF4-FFF2-40B4-BE49-F238E27FC236}">
                <a16:creationId xmlns:a16="http://schemas.microsoft.com/office/drawing/2014/main" id="{1B5CE7E4-7246-4B78-B19A-174D314C30F9}"/>
              </a:ext>
            </a:extLst>
          </p:cNvPr>
          <p:cNvSpPr txBox="1"/>
          <p:nvPr/>
        </p:nvSpPr>
        <p:spPr>
          <a:xfrm>
            <a:off x="6016621" y="5149569"/>
            <a:ext cx="17876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highlight>
                  <a:srgbClr val="FFFF00"/>
                </a:highlight>
              </a:rPr>
              <a:t>Link OpenCV library</a:t>
            </a:r>
          </a:p>
        </p:txBody>
      </p:sp>
    </p:spTree>
    <p:extLst>
      <p:ext uri="{BB962C8B-B14F-4D97-AF65-F5344CB8AC3E}">
        <p14:creationId xmlns:p14="http://schemas.microsoft.com/office/powerpoint/2010/main" val="2674687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faeb3860-0e02-4cc6-9f56-79d398ebaa4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CBBE7"/>
      </a:accent1>
      <a:accent2>
        <a:srgbClr val="91D8F2"/>
      </a:accent2>
      <a:accent3>
        <a:srgbClr val="FF83A8"/>
      </a:accent3>
      <a:accent4>
        <a:srgbClr val="FFBFBE"/>
      </a:accent4>
      <a:accent5>
        <a:srgbClr val="707070"/>
      </a:accent5>
      <a:accent6>
        <a:srgbClr val="54545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PLUS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47</TotalTime>
  <Words>1053</Words>
  <Application>Microsoft Office PowerPoint</Application>
  <PresentationFormat>宽屏</PresentationFormat>
  <Paragraphs>165</Paragraphs>
  <Slides>29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9</vt:i4>
      </vt:variant>
    </vt:vector>
  </HeadingPairs>
  <TitlesOfParts>
    <vt:vector size="43" baseType="lpstr">
      <vt:lpstr>DejaVuSans</vt:lpstr>
      <vt:lpstr>宋体</vt:lpstr>
      <vt:lpstr>微软雅黑</vt:lpstr>
      <vt:lpstr>Arial</vt:lpstr>
      <vt:lpstr>Calibri</vt:lpstr>
      <vt:lpstr>Cambria Math</vt:lpstr>
      <vt:lpstr>Consolas</vt:lpstr>
      <vt:lpstr>Constantia</vt:lpstr>
      <vt:lpstr>Courier New</vt:lpstr>
      <vt:lpstr>Impact</vt:lpstr>
      <vt:lpstr>Segoe UI Light</vt:lpstr>
      <vt:lpstr>主题5</vt:lpstr>
      <vt:lpstr>OfficePLUS</vt:lpstr>
      <vt:lpstr>think-cell Slide</vt:lpstr>
      <vt:lpstr>SuperPower  Vision Group Team Training</vt:lpstr>
      <vt:lpstr>Some Basic Knowledge</vt:lpstr>
      <vt:lpstr>OpenCV IO</vt:lpstr>
      <vt:lpstr>cv::Mat</vt:lpstr>
      <vt:lpstr>cv::Mat Iteration</vt:lpstr>
      <vt:lpstr>cv::Mat is just a big chunk of memory.  What it is depends on how U view it.</vt:lpstr>
      <vt:lpstr>OpenCV function style</vt:lpstr>
      <vt:lpstr>CMake Basic</vt:lpstr>
      <vt:lpstr>PowerPoint 演示文稿</vt:lpstr>
      <vt:lpstr>Please try to get used to this …</vt:lpstr>
      <vt:lpstr>Dynamic Array Class</vt:lpstr>
      <vt:lpstr>Rule of Three &amp; RAII(Resource Acquisition Is Initialization)</vt:lpstr>
      <vt:lpstr>Move semantics</vt:lpstr>
      <vt:lpstr>Move semantics</vt:lpstr>
      <vt:lpstr>Move semantics</vt:lpstr>
      <vt:lpstr>Move vs No Move</vt:lpstr>
      <vt:lpstr>Rule of Five</vt:lpstr>
      <vt:lpstr>Apply this for all types – using template programming.</vt:lpstr>
      <vt:lpstr>Write a classifier</vt:lpstr>
      <vt:lpstr>Samples</vt:lpstr>
      <vt:lpstr>Template Based Method</vt:lpstr>
      <vt:lpstr>Write a classifier class</vt:lpstr>
      <vt:lpstr>Forward process</vt:lpstr>
      <vt:lpstr>Prepare and thresholding</vt:lpstr>
      <vt:lpstr>Prepare and thresholding</vt:lpstr>
      <vt:lpstr>Forward</vt:lpstr>
      <vt:lpstr>Compare input with template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刘佳伟</cp:lastModifiedBy>
  <cp:revision>49</cp:revision>
  <cp:lastPrinted>2018-06-07T16:00:00Z</cp:lastPrinted>
  <dcterms:created xsi:type="dcterms:W3CDTF">2018-06-07T16:00:00Z</dcterms:created>
  <dcterms:modified xsi:type="dcterms:W3CDTF">2019-09-07T08:40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Owner">
    <vt:lpwstr>v-yunxl@microsoft.com</vt:lpwstr>
  </property>
  <property fmtid="{D5CDD505-2E9C-101B-9397-08002B2CF9AE}" pid="6" name="MSIP_Label_f42aa342-8706-4288-bd11-ebb85995028c_SetDate">
    <vt:lpwstr>2018-11-16T07:35:27.1720801Z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Application">
    <vt:lpwstr>Microsoft Azure Information Protection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</Properties>
</file>